
<file path=[Content_Types].xml><?xml version="1.0" encoding="utf-8"?>
<Types xmlns="http://schemas.openxmlformats.org/package/2006/content-types">
  <Default Extension="bin" ContentType="application/vnd.openxmlformats-officedocument.oleObject"/>
  <Default Extension="fntdata" ContentType="application/x-fontdata"/>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26"/>
  </p:notesMasterIdLst>
  <p:sldIdLst>
    <p:sldId id="265" r:id="rId2"/>
    <p:sldId id="276" r:id="rId3"/>
    <p:sldId id="383" r:id="rId4"/>
    <p:sldId id="412" r:id="rId5"/>
    <p:sldId id="413" r:id="rId6"/>
    <p:sldId id="414" r:id="rId7"/>
    <p:sldId id="296" r:id="rId8"/>
    <p:sldId id="404" r:id="rId9"/>
    <p:sldId id="425" r:id="rId10"/>
    <p:sldId id="416" r:id="rId11"/>
    <p:sldId id="417" r:id="rId12"/>
    <p:sldId id="407" r:id="rId13"/>
    <p:sldId id="391" r:id="rId14"/>
    <p:sldId id="415" r:id="rId15"/>
    <p:sldId id="392" r:id="rId16"/>
    <p:sldId id="426" r:id="rId17"/>
    <p:sldId id="419" r:id="rId18"/>
    <p:sldId id="408" r:id="rId19"/>
    <p:sldId id="428" r:id="rId20"/>
    <p:sldId id="430" r:id="rId21"/>
    <p:sldId id="421" r:id="rId22"/>
    <p:sldId id="429" r:id="rId23"/>
    <p:sldId id="432" r:id="rId24"/>
    <p:sldId id="402" r:id="rId25"/>
  </p:sldIdLst>
  <p:sldSz cx="12192000" cy="6858000"/>
  <p:notesSz cx="6858000" cy="9144000"/>
  <p:embeddedFontLst>
    <p:embeddedFont>
      <p:font typeface="Algerian" panose="04020705040A02060702" pitchFamily="82" charset="0"/>
      <p:regular r:id="rId27"/>
    </p:embeddedFont>
    <p:embeddedFont>
      <p:font typeface="Arial Narrow" panose="020B0606020202030204" pitchFamily="34" charset="0"/>
      <p:regular r:id="rId28"/>
      <p:bold r:id="rId29"/>
      <p:italic r:id="rId30"/>
      <p:boldItalic r:id="rId31"/>
    </p:embeddedFont>
    <p:embeddedFont>
      <p:font typeface="Berlin Sans FB" panose="020E0602020502020306" pitchFamily="34" charset="0"/>
      <p:regular r:id="rId32"/>
      <p:bold r:id="rId33"/>
    </p:embeddedFont>
    <p:embeddedFont>
      <p:font typeface="Calibri" panose="020F0502020204030204" pitchFamily="34" charset="0"/>
      <p:regular r:id="rId34"/>
      <p:bold r:id="rId35"/>
      <p:italic r:id="rId36"/>
      <p:boldItalic r:id="rId37"/>
    </p:embeddedFont>
    <p:embeddedFont>
      <p:font typeface="Futura Lt BT" panose="020B0402020204020303"/>
      <p:regular r:id="rId3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56" roundtripDataSignature="AMtx7mi2IggL+6LEaAgAOKyNICOpZir79Q=="/>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rishikesh bapat"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DED"/>
    <a:srgbClr val="D0D0D0"/>
    <a:srgbClr val="F2F2F2"/>
    <a:srgbClr val="36A3C9"/>
    <a:srgbClr val="00588A"/>
    <a:srgbClr val="A0D4F0"/>
    <a:srgbClr val="048CBC"/>
    <a:srgbClr val="D85234"/>
    <a:srgbClr val="D6492A"/>
    <a:srgbClr val="68B8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0FC9E8-8425-4C57-B6D7-A2A63A28C955}" v="119" dt="2022-09-18T14:19:44.003"/>
  </p1510:revLst>
</p1510:revInfo>
</file>

<file path=ppt/tableStyles.xml><?xml version="1.0" encoding="utf-8"?>
<a:tblStyleLst xmlns:a="http://schemas.openxmlformats.org/drawingml/2006/main" def="{A6FDE7D9-72D0-4401-8434-8D9B5F0409EF}">
  <a:tblStyle styleId="{A6FDE7D9-72D0-4401-8434-8D9B5F0409EF}"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5332" autoAdjust="0"/>
  </p:normalViewPr>
  <p:slideViewPr>
    <p:cSldViewPr snapToGrid="0">
      <p:cViewPr varScale="1">
        <p:scale>
          <a:sx n="82" d="100"/>
          <a:sy n="82" d="100"/>
        </p:scale>
        <p:origin x="581" y="72"/>
      </p:cViewPr>
      <p:guideLst/>
    </p:cSldViewPr>
  </p:slideViewPr>
  <p:outlineViewPr>
    <p:cViewPr>
      <p:scale>
        <a:sx n="33" d="100"/>
        <a:sy n="33" d="100"/>
      </p:scale>
      <p:origin x="0" y="-931"/>
    </p:cViewPr>
  </p:outlineViewPr>
  <p:notesTextViewPr>
    <p:cViewPr>
      <p:scale>
        <a:sx n="1" d="1"/>
        <a:sy n="1" d="1"/>
      </p:scale>
      <p:origin x="0" y="0"/>
    </p:cViewPr>
  </p:notesTextViewPr>
  <p:sorterViewPr>
    <p:cViewPr varScale="1">
      <p:scale>
        <a:sx n="100" d="100"/>
        <a:sy n="100" d="100"/>
      </p:scale>
      <p:origin x="0" y="-178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font" Target="fonts/font8.fntdata"/><Relationship Id="rId63"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6.fntdata"/><Relationship Id="rId37" Type="http://schemas.openxmlformats.org/officeDocument/2006/relationships/font" Target="fonts/font11.fntdata"/><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2.fntdata"/><Relationship Id="rId36" Type="http://schemas.openxmlformats.org/officeDocument/2006/relationships/font" Target="fonts/font10.fntdata"/><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5.fntdata"/><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56" Type="http://customschemas.google.com/relationships/presentationmetadata" Target="meta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7.fntdata"/><Relationship Id="rId38" Type="http://schemas.openxmlformats.org/officeDocument/2006/relationships/font" Target="fonts/font12.fntdata"/><Relationship Id="rId59" Type="http://schemas.openxmlformats.org/officeDocument/2006/relationships/viewProps" Target="viewProps.xml"/><Relationship Id="rId20" Type="http://schemas.openxmlformats.org/officeDocument/2006/relationships/slide" Target="slides/slide19.xml"/><Relationship Id="rId6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nu Sood" userId="e2db75ea63d2bb3f" providerId="LiveId" clId="{540FC9E8-8425-4C57-B6D7-A2A63A28C955}"/>
    <pc:docChg chg="undo custSel addSld delSld modSld sldOrd">
      <pc:chgData name="Tanu Sood" userId="e2db75ea63d2bb3f" providerId="LiveId" clId="{540FC9E8-8425-4C57-B6D7-A2A63A28C955}" dt="2022-09-18T14:21:38.137" v="14437"/>
      <pc:docMkLst>
        <pc:docMk/>
      </pc:docMkLst>
      <pc:sldChg chg="modSp mod ord">
        <pc:chgData name="Tanu Sood" userId="e2db75ea63d2bb3f" providerId="LiveId" clId="{540FC9E8-8425-4C57-B6D7-A2A63A28C955}" dt="2022-09-18T12:52:02.497" v="13749" actId="6549"/>
        <pc:sldMkLst>
          <pc:docMk/>
          <pc:sldMk cId="0" sldId="257"/>
        </pc:sldMkLst>
        <pc:spChg chg="mod">
          <ac:chgData name="Tanu Sood" userId="e2db75ea63d2bb3f" providerId="LiveId" clId="{540FC9E8-8425-4C57-B6D7-A2A63A28C955}" dt="2022-09-17T22:14:22.715" v="10632" actId="2711"/>
          <ac:spMkLst>
            <pc:docMk/>
            <pc:sldMk cId="0" sldId="257"/>
            <ac:spMk id="4" creationId="{49CD23CB-21BE-E866-D01E-7AD1A37B9B86}"/>
          </ac:spMkLst>
        </pc:spChg>
        <pc:spChg chg="mod">
          <ac:chgData name="Tanu Sood" userId="e2db75ea63d2bb3f" providerId="LiveId" clId="{540FC9E8-8425-4C57-B6D7-A2A63A28C955}" dt="2022-09-18T12:52:02.497" v="13749" actId="6549"/>
          <ac:spMkLst>
            <pc:docMk/>
            <pc:sldMk cId="0" sldId="257"/>
            <ac:spMk id="8" creationId="{3C75F09A-3A02-A695-C96C-CD9496DA5CEC}"/>
          </ac:spMkLst>
        </pc:spChg>
      </pc:sldChg>
      <pc:sldChg chg="addSp delSp modSp del mod delCm">
        <pc:chgData name="Tanu Sood" userId="e2db75ea63d2bb3f" providerId="LiveId" clId="{540FC9E8-8425-4C57-B6D7-A2A63A28C955}" dt="2022-09-18T00:53:54.659" v="12567" actId="2696"/>
        <pc:sldMkLst>
          <pc:docMk/>
          <pc:sldMk cId="0" sldId="258"/>
        </pc:sldMkLst>
        <pc:spChg chg="add del mod">
          <ac:chgData name="Tanu Sood" userId="e2db75ea63d2bb3f" providerId="LiveId" clId="{540FC9E8-8425-4C57-B6D7-A2A63A28C955}" dt="2022-09-17T23:33:01.083" v="11340" actId="478"/>
          <ac:spMkLst>
            <pc:docMk/>
            <pc:sldMk cId="0" sldId="258"/>
            <ac:spMk id="3" creationId="{49A205F7-0FB9-BF96-A344-D7603D88EDA4}"/>
          </ac:spMkLst>
        </pc:spChg>
        <pc:spChg chg="del mod">
          <ac:chgData name="Tanu Sood" userId="e2db75ea63d2bb3f" providerId="LiveId" clId="{540FC9E8-8425-4C57-B6D7-A2A63A28C955}" dt="2022-09-17T13:42:44.111" v="10505" actId="478"/>
          <ac:spMkLst>
            <pc:docMk/>
            <pc:sldMk cId="0" sldId="258"/>
            <ac:spMk id="125" creationId="{00000000-0000-0000-0000-000000000000}"/>
          </ac:spMkLst>
        </pc:spChg>
        <pc:spChg chg="del">
          <ac:chgData name="Tanu Sood" userId="e2db75ea63d2bb3f" providerId="LiveId" clId="{540FC9E8-8425-4C57-B6D7-A2A63A28C955}" dt="2022-09-17T13:42:49.599" v="10506" actId="478"/>
          <ac:spMkLst>
            <pc:docMk/>
            <pc:sldMk cId="0" sldId="258"/>
            <ac:spMk id="126" creationId="{00000000-0000-0000-0000-000000000000}"/>
          </ac:spMkLst>
        </pc:spChg>
        <pc:picChg chg="add del mod">
          <ac:chgData name="Tanu Sood" userId="e2db75ea63d2bb3f" providerId="LiveId" clId="{540FC9E8-8425-4C57-B6D7-A2A63A28C955}" dt="2022-09-17T23:34:27.257" v="11357" actId="21"/>
          <ac:picMkLst>
            <pc:docMk/>
            <pc:sldMk cId="0" sldId="258"/>
            <ac:picMk id="4" creationId="{F2951A8F-0468-47A2-5A53-EA3F3D9ED5DF}"/>
          </ac:picMkLst>
        </pc:picChg>
      </pc:sldChg>
      <pc:sldChg chg="del">
        <pc:chgData name="Tanu Sood" userId="e2db75ea63d2bb3f" providerId="LiveId" clId="{540FC9E8-8425-4C57-B6D7-A2A63A28C955}" dt="2022-09-18T00:58:04.328" v="12878" actId="2696"/>
        <pc:sldMkLst>
          <pc:docMk/>
          <pc:sldMk cId="0" sldId="259"/>
        </pc:sldMkLst>
      </pc:sldChg>
      <pc:sldChg chg="del">
        <pc:chgData name="Tanu Sood" userId="e2db75ea63d2bb3f" providerId="LiveId" clId="{540FC9E8-8425-4C57-B6D7-A2A63A28C955}" dt="2022-09-18T01:28:47.044" v="13214" actId="2696"/>
        <pc:sldMkLst>
          <pc:docMk/>
          <pc:sldMk cId="0" sldId="260"/>
        </pc:sldMkLst>
      </pc:sldChg>
      <pc:sldChg chg="modSp del mod">
        <pc:chgData name="Tanu Sood" userId="e2db75ea63d2bb3f" providerId="LiveId" clId="{540FC9E8-8425-4C57-B6D7-A2A63A28C955}" dt="2022-09-18T01:28:43.575" v="13213" actId="2696"/>
        <pc:sldMkLst>
          <pc:docMk/>
          <pc:sldMk cId="0" sldId="261"/>
        </pc:sldMkLst>
        <pc:graphicFrameChg chg="modGraphic">
          <ac:chgData name="Tanu Sood" userId="e2db75ea63d2bb3f" providerId="LiveId" clId="{540FC9E8-8425-4C57-B6D7-A2A63A28C955}" dt="2022-08-15T11:53:29.395" v="1109" actId="14734"/>
          <ac:graphicFrameMkLst>
            <pc:docMk/>
            <pc:sldMk cId="0" sldId="261"/>
            <ac:graphicFrameMk id="160" creationId="{00000000-0000-0000-0000-000000000000}"/>
          </ac:graphicFrameMkLst>
        </pc:graphicFrameChg>
      </pc:sldChg>
      <pc:sldChg chg="del">
        <pc:chgData name="Tanu Sood" userId="e2db75ea63d2bb3f" providerId="LiveId" clId="{540FC9E8-8425-4C57-B6D7-A2A63A28C955}" dt="2022-09-18T01:28:40.425" v="13212" actId="2696"/>
        <pc:sldMkLst>
          <pc:docMk/>
          <pc:sldMk cId="0" sldId="262"/>
        </pc:sldMkLst>
      </pc:sldChg>
      <pc:sldChg chg="del">
        <pc:chgData name="Tanu Sood" userId="e2db75ea63d2bb3f" providerId="LiveId" clId="{540FC9E8-8425-4C57-B6D7-A2A63A28C955}" dt="2022-09-18T01:07:57.151" v="12881" actId="2696"/>
        <pc:sldMkLst>
          <pc:docMk/>
          <pc:sldMk cId="0" sldId="263"/>
        </pc:sldMkLst>
      </pc:sldChg>
      <pc:sldChg chg="modNotes">
        <pc:chgData name="Tanu Sood" userId="e2db75ea63d2bb3f" providerId="LiveId" clId="{540FC9E8-8425-4C57-B6D7-A2A63A28C955}" dt="2022-09-18T02:55:32.477" v="13478"/>
        <pc:sldMkLst>
          <pc:docMk/>
          <pc:sldMk cId="0" sldId="264"/>
        </pc:sldMkLst>
      </pc:sldChg>
      <pc:sldChg chg="modSp mod">
        <pc:chgData name="Tanu Sood" userId="e2db75ea63d2bb3f" providerId="LiveId" clId="{540FC9E8-8425-4C57-B6D7-A2A63A28C955}" dt="2022-09-18T02:36:17.883" v="13408" actId="207"/>
        <pc:sldMkLst>
          <pc:docMk/>
          <pc:sldMk cId="639144703" sldId="265"/>
        </pc:sldMkLst>
        <pc:spChg chg="mod">
          <ac:chgData name="Tanu Sood" userId="e2db75ea63d2bb3f" providerId="LiveId" clId="{540FC9E8-8425-4C57-B6D7-A2A63A28C955}" dt="2022-09-17T22:14:38.834" v="10633" actId="2711"/>
          <ac:spMkLst>
            <pc:docMk/>
            <pc:sldMk cId="639144703" sldId="265"/>
            <ac:spMk id="103" creationId="{00000000-0000-0000-0000-000000000000}"/>
          </ac:spMkLst>
        </pc:spChg>
        <pc:spChg chg="mod">
          <ac:chgData name="Tanu Sood" userId="e2db75ea63d2bb3f" providerId="LiveId" clId="{540FC9E8-8425-4C57-B6D7-A2A63A28C955}" dt="2022-09-18T02:36:17.883" v="13408" actId="207"/>
          <ac:spMkLst>
            <pc:docMk/>
            <pc:sldMk cId="639144703" sldId="265"/>
            <ac:spMk id="104" creationId="{00000000-0000-0000-0000-000000000000}"/>
          </ac:spMkLst>
        </pc:spChg>
      </pc:sldChg>
      <pc:sldChg chg="addSp delSp modSp add del mod ord">
        <pc:chgData name="Tanu Sood" userId="e2db75ea63d2bb3f" providerId="LiveId" clId="{540FC9E8-8425-4C57-B6D7-A2A63A28C955}" dt="2022-08-15T12:27:42.848" v="2648" actId="2696"/>
        <pc:sldMkLst>
          <pc:docMk/>
          <pc:sldMk cId="983250861" sldId="266"/>
        </pc:sldMkLst>
        <pc:spChg chg="del">
          <ac:chgData name="Tanu Sood" userId="e2db75ea63d2bb3f" providerId="LiveId" clId="{540FC9E8-8425-4C57-B6D7-A2A63A28C955}" dt="2022-08-15T11:36:49.241" v="843" actId="478"/>
          <ac:spMkLst>
            <pc:docMk/>
            <pc:sldMk cId="983250861" sldId="266"/>
            <ac:spMk id="3" creationId="{BA3383DE-28D4-B1C7-4FDE-0B6DB883CB2B}"/>
          </ac:spMkLst>
        </pc:spChg>
        <pc:spChg chg="mod">
          <ac:chgData name="Tanu Sood" userId="e2db75ea63d2bb3f" providerId="LiveId" clId="{540FC9E8-8425-4C57-B6D7-A2A63A28C955}" dt="2022-08-15T11:44:05.630" v="958" actId="122"/>
          <ac:spMkLst>
            <pc:docMk/>
            <pc:sldMk cId="983250861" sldId="266"/>
            <ac:spMk id="4" creationId="{FF226CC3-234B-44A7-162B-D022DD450303}"/>
          </ac:spMkLst>
        </pc:spChg>
        <pc:spChg chg="mod">
          <ac:chgData name="Tanu Sood" userId="e2db75ea63d2bb3f" providerId="LiveId" clId="{540FC9E8-8425-4C57-B6D7-A2A63A28C955}" dt="2022-08-15T11:38:41.990" v="885" actId="122"/>
          <ac:spMkLst>
            <pc:docMk/>
            <pc:sldMk cId="983250861" sldId="266"/>
            <ac:spMk id="5" creationId="{20CB1A5C-F01D-4233-917D-9525CD59AD49}"/>
          </ac:spMkLst>
        </pc:spChg>
        <pc:spChg chg="mod">
          <ac:chgData name="Tanu Sood" userId="e2db75ea63d2bb3f" providerId="LiveId" clId="{540FC9E8-8425-4C57-B6D7-A2A63A28C955}" dt="2022-08-15T11:38:41.990" v="885" actId="122"/>
          <ac:spMkLst>
            <pc:docMk/>
            <pc:sldMk cId="983250861" sldId="266"/>
            <ac:spMk id="6" creationId="{D7FFF0F2-1853-ED7D-C3B9-643055194C07}"/>
          </ac:spMkLst>
        </pc:spChg>
        <pc:spChg chg="mod">
          <ac:chgData name="Tanu Sood" userId="e2db75ea63d2bb3f" providerId="LiveId" clId="{540FC9E8-8425-4C57-B6D7-A2A63A28C955}" dt="2022-08-15T11:38:41.990" v="885" actId="122"/>
          <ac:spMkLst>
            <pc:docMk/>
            <pc:sldMk cId="983250861" sldId="266"/>
            <ac:spMk id="7" creationId="{590F9B4C-3810-4835-9C3B-6FCB5D126F33}"/>
          </ac:spMkLst>
        </pc:spChg>
        <pc:spChg chg="mod">
          <ac:chgData name="Tanu Sood" userId="e2db75ea63d2bb3f" providerId="LiveId" clId="{540FC9E8-8425-4C57-B6D7-A2A63A28C955}" dt="2022-08-15T11:38:41.990" v="885" actId="122"/>
          <ac:spMkLst>
            <pc:docMk/>
            <pc:sldMk cId="983250861" sldId="266"/>
            <ac:spMk id="8" creationId="{AED9898F-83B2-3AD9-BEC9-0247937CE7FF}"/>
          </ac:spMkLst>
        </pc:spChg>
        <pc:spChg chg="add del mod">
          <ac:chgData name="Tanu Sood" userId="e2db75ea63d2bb3f" providerId="LiveId" clId="{540FC9E8-8425-4C57-B6D7-A2A63A28C955}" dt="2022-08-15T11:44:54.217" v="963" actId="478"/>
          <ac:spMkLst>
            <pc:docMk/>
            <pc:sldMk cId="983250861" sldId="266"/>
            <ac:spMk id="9" creationId="{B1D85CE6-9303-96E7-637E-A73C99601D14}"/>
          </ac:spMkLst>
        </pc:spChg>
        <pc:spChg chg="add del mod">
          <ac:chgData name="Tanu Sood" userId="e2db75ea63d2bb3f" providerId="LiveId" clId="{540FC9E8-8425-4C57-B6D7-A2A63A28C955}" dt="2022-08-15T11:47:04.680" v="970" actId="478"/>
          <ac:spMkLst>
            <pc:docMk/>
            <pc:sldMk cId="983250861" sldId="266"/>
            <ac:spMk id="10" creationId="{2725BDAE-9FB0-2E18-4A66-F13F995ABAE1}"/>
          </ac:spMkLst>
        </pc:spChg>
        <pc:spChg chg="add mod">
          <ac:chgData name="Tanu Sood" userId="e2db75ea63d2bb3f" providerId="LiveId" clId="{540FC9E8-8425-4C57-B6D7-A2A63A28C955}" dt="2022-08-15T11:46:45.153" v="964"/>
          <ac:spMkLst>
            <pc:docMk/>
            <pc:sldMk cId="983250861" sldId="266"/>
            <ac:spMk id="11" creationId="{E4FDDFD4-8838-300D-13E6-786A5C414392}"/>
          </ac:spMkLst>
        </pc:spChg>
        <pc:spChg chg="mod">
          <ac:chgData name="Tanu Sood" userId="e2db75ea63d2bb3f" providerId="LiveId" clId="{540FC9E8-8425-4C57-B6D7-A2A63A28C955}" dt="2022-08-15T11:46:45.153" v="964"/>
          <ac:spMkLst>
            <pc:docMk/>
            <pc:sldMk cId="983250861" sldId="266"/>
            <ac:spMk id="13" creationId="{6EEA5DB7-95F5-2623-FBF4-527453A5A7C9}"/>
          </ac:spMkLst>
        </pc:spChg>
        <pc:spChg chg="mod">
          <ac:chgData name="Tanu Sood" userId="e2db75ea63d2bb3f" providerId="LiveId" clId="{540FC9E8-8425-4C57-B6D7-A2A63A28C955}" dt="2022-08-15T11:46:45.153" v="964"/>
          <ac:spMkLst>
            <pc:docMk/>
            <pc:sldMk cId="983250861" sldId="266"/>
            <ac:spMk id="14" creationId="{F2B0E8E3-E541-D9EB-1E5A-1F7E8C51D95A}"/>
          </ac:spMkLst>
        </pc:spChg>
        <pc:spChg chg="mod">
          <ac:chgData name="Tanu Sood" userId="e2db75ea63d2bb3f" providerId="LiveId" clId="{540FC9E8-8425-4C57-B6D7-A2A63A28C955}" dt="2022-08-15T11:46:45.153" v="964"/>
          <ac:spMkLst>
            <pc:docMk/>
            <pc:sldMk cId="983250861" sldId="266"/>
            <ac:spMk id="15" creationId="{E6A1DAF6-B3CF-6B83-8DC5-C9FF40BE05D5}"/>
          </ac:spMkLst>
        </pc:spChg>
        <pc:spChg chg="mod">
          <ac:chgData name="Tanu Sood" userId="e2db75ea63d2bb3f" providerId="LiveId" clId="{540FC9E8-8425-4C57-B6D7-A2A63A28C955}" dt="2022-08-15T11:46:45.153" v="964"/>
          <ac:spMkLst>
            <pc:docMk/>
            <pc:sldMk cId="983250861" sldId="266"/>
            <ac:spMk id="16" creationId="{7C0A7E75-292E-6984-48CA-E2291FFEB5DB}"/>
          </ac:spMkLst>
        </pc:spChg>
        <pc:spChg chg="mod">
          <ac:chgData name="Tanu Sood" userId="e2db75ea63d2bb3f" providerId="LiveId" clId="{540FC9E8-8425-4C57-B6D7-A2A63A28C955}" dt="2022-08-15T11:46:45.153" v="964"/>
          <ac:spMkLst>
            <pc:docMk/>
            <pc:sldMk cId="983250861" sldId="266"/>
            <ac:spMk id="17" creationId="{89254C46-F29C-6714-596F-460B70FFC275}"/>
          </ac:spMkLst>
        </pc:spChg>
        <pc:spChg chg="del mod">
          <ac:chgData name="Tanu Sood" userId="e2db75ea63d2bb3f" providerId="LiveId" clId="{540FC9E8-8425-4C57-B6D7-A2A63A28C955}" dt="2022-08-15T11:47:20.249" v="1015" actId="478"/>
          <ac:spMkLst>
            <pc:docMk/>
            <pc:sldMk cId="983250861" sldId="266"/>
            <ac:spMk id="18" creationId="{E821ECE1-A4A7-13B9-AA1D-4F9DDC2855BF}"/>
          </ac:spMkLst>
        </pc:spChg>
        <pc:spChg chg="add mod">
          <ac:chgData name="Tanu Sood" userId="e2db75ea63d2bb3f" providerId="LiveId" clId="{540FC9E8-8425-4C57-B6D7-A2A63A28C955}" dt="2022-08-15T11:46:45.153" v="964"/>
          <ac:spMkLst>
            <pc:docMk/>
            <pc:sldMk cId="983250861" sldId="266"/>
            <ac:spMk id="19" creationId="{C55405E5-FAC0-473C-3185-14F6CAF7CF84}"/>
          </ac:spMkLst>
        </pc:spChg>
        <pc:spChg chg="add del mod">
          <ac:chgData name="Tanu Sood" userId="e2db75ea63d2bb3f" providerId="LiveId" clId="{540FC9E8-8425-4C57-B6D7-A2A63A28C955}" dt="2022-08-15T11:59:58.992" v="1159" actId="478"/>
          <ac:spMkLst>
            <pc:docMk/>
            <pc:sldMk cId="983250861" sldId="266"/>
            <ac:spMk id="20" creationId="{65E540CC-E449-53F3-C9C3-40C1A31413ED}"/>
          </ac:spMkLst>
        </pc:spChg>
        <pc:spChg chg="add del mod">
          <ac:chgData name="Tanu Sood" userId="e2db75ea63d2bb3f" providerId="LiveId" clId="{540FC9E8-8425-4C57-B6D7-A2A63A28C955}" dt="2022-08-15T12:00:01.831" v="1161" actId="478"/>
          <ac:spMkLst>
            <pc:docMk/>
            <pc:sldMk cId="983250861" sldId="266"/>
            <ac:spMk id="21" creationId="{7A633FD9-BDAF-4C8C-6B33-B4BF014D802D}"/>
          </ac:spMkLst>
        </pc:spChg>
        <pc:spChg chg="add del mod">
          <ac:chgData name="Tanu Sood" userId="e2db75ea63d2bb3f" providerId="LiveId" clId="{540FC9E8-8425-4C57-B6D7-A2A63A28C955}" dt="2022-08-15T12:00:08.586" v="1163" actId="478"/>
          <ac:spMkLst>
            <pc:docMk/>
            <pc:sldMk cId="983250861" sldId="266"/>
            <ac:spMk id="22" creationId="{1114EE62-5600-704B-CFA3-3EBD348AEC94}"/>
          </ac:spMkLst>
        </pc:spChg>
        <pc:spChg chg="add del mod">
          <ac:chgData name="Tanu Sood" userId="e2db75ea63d2bb3f" providerId="LiveId" clId="{540FC9E8-8425-4C57-B6D7-A2A63A28C955}" dt="2022-08-15T12:00:17.193" v="1166" actId="478"/>
          <ac:spMkLst>
            <pc:docMk/>
            <pc:sldMk cId="983250861" sldId="266"/>
            <ac:spMk id="23" creationId="{A5CD466F-AA13-2243-2DFE-859DF45C1EBF}"/>
          </ac:spMkLst>
        </pc:spChg>
        <pc:spChg chg="add del mod">
          <ac:chgData name="Tanu Sood" userId="e2db75ea63d2bb3f" providerId="LiveId" clId="{540FC9E8-8425-4C57-B6D7-A2A63A28C955}" dt="2022-08-15T12:11:46.294" v="1262" actId="21"/>
          <ac:spMkLst>
            <pc:docMk/>
            <pc:sldMk cId="983250861" sldId="266"/>
            <ac:spMk id="24" creationId="{548385FB-DC32-AF86-3EEB-C76C8DC9EC13}"/>
          </ac:spMkLst>
        </pc:spChg>
        <pc:spChg chg="add mod">
          <ac:chgData name="Tanu Sood" userId="e2db75ea63d2bb3f" providerId="LiveId" clId="{540FC9E8-8425-4C57-B6D7-A2A63A28C955}" dt="2022-08-15T11:46:45.153" v="964"/>
          <ac:spMkLst>
            <pc:docMk/>
            <pc:sldMk cId="983250861" sldId="266"/>
            <ac:spMk id="27" creationId="{449591F7-A9F8-79DF-4B2F-F72C7ADCCF71}"/>
          </ac:spMkLst>
        </pc:spChg>
        <pc:spChg chg="add mod">
          <ac:chgData name="Tanu Sood" userId="e2db75ea63d2bb3f" providerId="LiveId" clId="{540FC9E8-8425-4C57-B6D7-A2A63A28C955}" dt="2022-08-15T11:58:22.097" v="1156" actId="20577"/>
          <ac:spMkLst>
            <pc:docMk/>
            <pc:sldMk cId="983250861" sldId="266"/>
            <ac:spMk id="28" creationId="{C860E69F-6204-973D-0877-0B5A319011CE}"/>
          </ac:spMkLst>
        </pc:spChg>
        <pc:spChg chg="add mod">
          <ac:chgData name="Tanu Sood" userId="e2db75ea63d2bb3f" providerId="LiveId" clId="{540FC9E8-8425-4C57-B6D7-A2A63A28C955}" dt="2022-08-15T11:46:45.153" v="964"/>
          <ac:spMkLst>
            <pc:docMk/>
            <pc:sldMk cId="983250861" sldId="266"/>
            <ac:spMk id="29" creationId="{A7A9A5F7-B173-C0AA-6259-2F38EC90AB9E}"/>
          </ac:spMkLst>
        </pc:spChg>
        <pc:spChg chg="add mod">
          <ac:chgData name="Tanu Sood" userId="e2db75ea63d2bb3f" providerId="LiveId" clId="{540FC9E8-8425-4C57-B6D7-A2A63A28C955}" dt="2022-08-15T11:46:45.153" v="964"/>
          <ac:spMkLst>
            <pc:docMk/>
            <pc:sldMk cId="983250861" sldId="266"/>
            <ac:spMk id="30" creationId="{6BED738A-E859-64DB-B1B8-EC317565DAEB}"/>
          </ac:spMkLst>
        </pc:spChg>
        <pc:spChg chg="add mod">
          <ac:chgData name="Tanu Sood" userId="e2db75ea63d2bb3f" providerId="LiveId" clId="{540FC9E8-8425-4C57-B6D7-A2A63A28C955}" dt="2022-08-15T12:04:08.041" v="1206" actId="1076"/>
          <ac:spMkLst>
            <pc:docMk/>
            <pc:sldMk cId="983250861" sldId="266"/>
            <ac:spMk id="31" creationId="{7C0A6824-1384-3BD8-6A1D-0728BD5CDA73}"/>
          </ac:spMkLst>
        </pc:spChg>
        <pc:spChg chg="add mod">
          <ac:chgData name="Tanu Sood" userId="e2db75ea63d2bb3f" providerId="LiveId" clId="{540FC9E8-8425-4C57-B6D7-A2A63A28C955}" dt="2022-08-15T12:04:13.750" v="1208" actId="1076"/>
          <ac:spMkLst>
            <pc:docMk/>
            <pc:sldMk cId="983250861" sldId="266"/>
            <ac:spMk id="32" creationId="{DC06DE06-2C51-3B6D-77D0-0504EFCB842C}"/>
          </ac:spMkLst>
        </pc:spChg>
        <pc:spChg chg="add mod">
          <ac:chgData name="Tanu Sood" userId="e2db75ea63d2bb3f" providerId="LiveId" clId="{540FC9E8-8425-4C57-B6D7-A2A63A28C955}" dt="2022-08-15T12:03:51.196" v="1202" actId="688"/>
          <ac:spMkLst>
            <pc:docMk/>
            <pc:sldMk cId="983250861" sldId="266"/>
            <ac:spMk id="33" creationId="{F7C57BD3-EA98-D648-24F7-0CDEFA423061}"/>
          </ac:spMkLst>
        </pc:spChg>
        <pc:spChg chg="add mod">
          <ac:chgData name="Tanu Sood" userId="e2db75ea63d2bb3f" providerId="LiveId" clId="{540FC9E8-8425-4C57-B6D7-A2A63A28C955}" dt="2022-08-15T12:04:10.947" v="1207" actId="1076"/>
          <ac:spMkLst>
            <pc:docMk/>
            <pc:sldMk cId="983250861" sldId="266"/>
            <ac:spMk id="34" creationId="{3DE84E9D-FC98-2FE5-7E7D-3FCA25CB1BE2}"/>
          </ac:spMkLst>
        </pc:spChg>
        <pc:spChg chg="add mod">
          <ac:chgData name="Tanu Sood" userId="e2db75ea63d2bb3f" providerId="LiveId" clId="{540FC9E8-8425-4C57-B6D7-A2A63A28C955}" dt="2022-08-15T12:03:56.610" v="1203" actId="1076"/>
          <ac:spMkLst>
            <pc:docMk/>
            <pc:sldMk cId="983250861" sldId="266"/>
            <ac:spMk id="35" creationId="{0FD9A293-1423-CF1B-0B10-0493819C04C2}"/>
          </ac:spMkLst>
        </pc:spChg>
        <pc:spChg chg="add mod">
          <ac:chgData name="Tanu Sood" userId="e2db75ea63d2bb3f" providerId="LiveId" clId="{540FC9E8-8425-4C57-B6D7-A2A63A28C955}" dt="2022-08-15T11:58:50.561" v="1158" actId="688"/>
          <ac:spMkLst>
            <pc:docMk/>
            <pc:sldMk cId="983250861" sldId="266"/>
            <ac:spMk id="36" creationId="{B0974ED1-DB8C-356F-18D2-3CE4EF701277}"/>
          </ac:spMkLst>
        </pc:spChg>
        <pc:spChg chg="add del mod">
          <ac:chgData name="Tanu Sood" userId="e2db75ea63d2bb3f" providerId="LiveId" clId="{540FC9E8-8425-4C57-B6D7-A2A63A28C955}" dt="2022-08-15T11:49:30.295" v="1025" actId="21"/>
          <ac:spMkLst>
            <pc:docMk/>
            <pc:sldMk cId="983250861" sldId="266"/>
            <ac:spMk id="38" creationId="{D7FAE842-FD00-8D7B-3CFF-246DFC13AA30}"/>
          </ac:spMkLst>
        </pc:spChg>
        <pc:spChg chg="add del mod">
          <ac:chgData name="Tanu Sood" userId="e2db75ea63d2bb3f" providerId="LiveId" clId="{540FC9E8-8425-4C57-B6D7-A2A63A28C955}" dt="2022-08-15T12:00:22.324" v="1168" actId="478"/>
          <ac:spMkLst>
            <pc:docMk/>
            <pc:sldMk cId="983250861" sldId="266"/>
            <ac:spMk id="39" creationId="{394FEAAF-5D90-AE6E-947F-251ED31BBA20}"/>
          </ac:spMkLst>
        </pc:spChg>
        <pc:spChg chg="add mod">
          <ac:chgData name="Tanu Sood" userId="e2db75ea63d2bb3f" providerId="LiveId" clId="{540FC9E8-8425-4C57-B6D7-A2A63A28C955}" dt="2022-08-15T12:04:18.020" v="1209" actId="1076"/>
          <ac:spMkLst>
            <pc:docMk/>
            <pc:sldMk cId="983250861" sldId="266"/>
            <ac:spMk id="40" creationId="{DA2496F4-B11A-5DFF-C6D7-1BB0111F1B2A}"/>
          </ac:spMkLst>
        </pc:spChg>
        <pc:spChg chg="add mod">
          <ac:chgData name="Tanu Sood" userId="e2db75ea63d2bb3f" providerId="LiveId" clId="{540FC9E8-8425-4C57-B6D7-A2A63A28C955}" dt="2022-08-15T11:46:45.153" v="964"/>
          <ac:spMkLst>
            <pc:docMk/>
            <pc:sldMk cId="983250861" sldId="266"/>
            <ac:spMk id="41" creationId="{30CCEB21-0B25-937F-0BD2-B3DF4379691F}"/>
          </ac:spMkLst>
        </pc:spChg>
        <pc:spChg chg="add del mod">
          <ac:chgData name="Tanu Sood" userId="e2db75ea63d2bb3f" providerId="LiveId" clId="{540FC9E8-8425-4C57-B6D7-A2A63A28C955}" dt="2022-08-15T12:00:26.450" v="1169" actId="478"/>
          <ac:spMkLst>
            <pc:docMk/>
            <pc:sldMk cId="983250861" sldId="266"/>
            <ac:spMk id="42" creationId="{D4D45C5F-5E4A-3BFA-D71D-3C923720EB1F}"/>
          </ac:spMkLst>
        </pc:spChg>
        <pc:spChg chg="add del mod">
          <ac:chgData name="Tanu Sood" userId="e2db75ea63d2bb3f" providerId="LiveId" clId="{540FC9E8-8425-4C57-B6D7-A2A63A28C955}" dt="2022-08-15T12:03:00.179" v="1196" actId="478"/>
          <ac:spMkLst>
            <pc:docMk/>
            <pc:sldMk cId="983250861" sldId="266"/>
            <ac:spMk id="44" creationId="{86106E58-BDD4-1C2E-64B4-FCDCFCC7A6F4}"/>
          </ac:spMkLst>
        </pc:spChg>
        <pc:spChg chg="add mod">
          <ac:chgData name="Tanu Sood" userId="e2db75ea63d2bb3f" providerId="LiveId" clId="{540FC9E8-8425-4C57-B6D7-A2A63A28C955}" dt="2022-08-15T12:04:21.487" v="1210" actId="1076"/>
          <ac:spMkLst>
            <pc:docMk/>
            <pc:sldMk cId="983250861" sldId="266"/>
            <ac:spMk id="45" creationId="{12AA08DC-2EF9-5D91-0138-5C88CA02F2BB}"/>
          </ac:spMkLst>
        </pc:spChg>
        <pc:grpChg chg="add del mod">
          <ac:chgData name="Tanu Sood" userId="e2db75ea63d2bb3f" providerId="LiveId" clId="{540FC9E8-8425-4C57-B6D7-A2A63A28C955}" dt="2022-08-15T12:14:40.677" v="1621" actId="21"/>
          <ac:grpSpMkLst>
            <pc:docMk/>
            <pc:sldMk cId="983250861" sldId="266"/>
            <ac:grpSpMk id="2" creationId="{00194ECE-C6C5-0DB9-6787-2971F1668D64}"/>
          </ac:grpSpMkLst>
        </pc:grpChg>
        <pc:grpChg chg="add del mod">
          <ac:chgData name="Tanu Sood" userId="e2db75ea63d2bb3f" providerId="LiveId" clId="{540FC9E8-8425-4C57-B6D7-A2A63A28C955}" dt="2022-08-15T11:47:24.264" v="1016" actId="478"/>
          <ac:grpSpMkLst>
            <pc:docMk/>
            <pc:sldMk cId="983250861" sldId="266"/>
            <ac:grpSpMk id="12" creationId="{A602F924-F02F-EABE-03C9-D6D0D2A6293E}"/>
          </ac:grpSpMkLst>
        </pc:grpChg>
        <pc:cxnChg chg="add mod">
          <ac:chgData name="Tanu Sood" userId="e2db75ea63d2bb3f" providerId="LiveId" clId="{540FC9E8-8425-4C57-B6D7-A2A63A28C955}" dt="2022-08-15T12:01:45.258" v="1177" actId="1076"/>
          <ac:cxnSpMkLst>
            <pc:docMk/>
            <pc:sldMk cId="983250861" sldId="266"/>
            <ac:cxnSpMk id="25" creationId="{0C2FE9D3-17A1-EAB4-8163-3FC8D1536F96}"/>
          </ac:cxnSpMkLst>
        </pc:cxnChg>
        <pc:cxnChg chg="add del mod">
          <ac:chgData name="Tanu Sood" userId="e2db75ea63d2bb3f" providerId="LiveId" clId="{540FC9E8-8425-4C57-B6D7-A2A63A28C955}" dt="2022-08-15T12:08:18.845" v="1232" actId="21"/>
          <ac:cxnSpMkLst>
            <pc:docMk/>
            <pc:sldMk cId="983250861" sldId="266"/>
            <ac:cxnSpMk id="26" creationId="{E3493A3E-8993-1C35-6879-3B34954881E9}"/>
          </ac:cxnSpMkLst>
        </pc:cxnChg>
        <pc:cxnChg chg="add mod">
          <ac:chgData name="Tanu Sood" userId="e2db75ea63d2bb3f" providerId="LiveId" clId="{540FC9E8-8425-4C57-B6D7-A2A63A28C955}" dt="2022-08-15T11:48:15.124" v="1019" actId="14100"/>
          <ac:cxnSpMkLst>
            <pc:docMk/>
            <pc:sldMk cId="983250861" sldId="266"/>
            <ac:cxnSpMk id="37" creationId="{8C3D7179-9E5C-6023-81B6-E7A5B201B6F7}"/>
          </ac:cxnSpMkLst>
        </pc:cxnChg>
      </pc:sldChg>
      <pc:sldChg chg="addSp delSp modSp del mod ord">
        <pc:chgData name="Tanu Sood" userId="e2db75ea63d2bb3f" providerId="LiveId" clId="{540FC9E8-8425-4C57-B6D7-A2A63A28C955}" dt="2022-09-18T03:48:41.338" v="13504" actId="2696"/>
        <pc:sldMkLst>
          <pc:docMk/>
          <pc:sldMk cId="1729580687" sldId="267"/>
        </pc:sldMkLst>
        <pc:spChg chg="add del">
          <ac:chgData name="Tanu Sood" userId="e2db75ea63d2bb3f" providerId="LiveId" clId="{540FC9E8-8425-4C57-B6D7-A2A63A28C955}" dt="2022-09-18T01:40:27.298" v="13405" actId="478"/>
          <ac:spMkLst>
            <pc:docMk/>
            <pc:sldMk cId="1729580687" sldId="267"/>
            <ac:spMk id="3" creationId="{DBCA9411-E5CE-512A-AFE0-D391A3E146DA}"/>
          </ac:spMkLst>
        </pc:spChg>
        <pc:spChg chg="add del mod">
          <ac:chgData name="Tanu Sood" userId="e2db75ea63d2bb3f" providerId="LiveId" clId="{540FC9E8-8425-4C57-B6D7-A2A63A28C955}" dt="2022-09-17T10:40:17.827" v="7636" actId="20577"/>
          <ac:spMkLst>
            <pc:docMk/>
            <pc:sldMk cId="1729580687" sldId="267"/>
            <ac:spMk id="4" creationId="{9B7C3FB2-6B28-37DB-1B86-677EBCCB5EBC}"/>
          </ac:spMkLst>
        </pc:spChg>
        <pc:spChg chg="add del">
          <ac:chgData name="Tanu Sood" userId="e2db75ea63d2bb3f" providerId="LiveId" clId="{540FC9E8-8425-4C57-B6D7-A2A63A28C955}" dt="2022-09-17T10:38:32.189" v="7551" actId="22"/>
          <ac:spMkLst>
            <pc:docMk/>
            <pc:sldMk cId="1729580687" sldId="267"/>
            <ac:spMk id="5" creationId="{6CCDF4E3-11FE-3DE2-7D11-1A9A90A07615}"/>
          </ac:spMkLst>
        </pc:spChg>
        <pc:spChg chg="add del">
          <ac:chgData name="Tanu Sood" userId="e2db75ea63d2bb3f" providerId="LiveId" clId="{540FC9E8-8425-4C57-B6D7-A2A63A28C955}" dt="2022-09-18T01:40:32.113" v="13406" actId="478"/>
          <ac:spMkLst>
            <pc:docMk/>
            <pc:sldMk cId="1729580687" sldId="267"/>
            <ac:spMk id="8" creationId="{7F8EF003-8701-4A10-A0AA-78F47DE9687C}"/>
          </ac:spMkLst>
        </pc:spChg>
      </pc:sldChg>
      <pc:sldChg chg="modSp del mod">
        <pc:chgData name="Tanu Sood" userId="e2db75ea63d2bb3f" providerId="LiveId" clId="{540FC9E8-8425-4C57-B6D7-A2A63A28C955}" dt="2022-09-18T00:52:21.983" v="12437" actId="2696"/>
        <pc:sldMkLst>
          <pc:docMk/>
          <pc:sldMk cId="3295930144" sldId="268"/>
        </pc:sldMkLst>
        <pc:spChg chg="mod">
          <ac:chgData name="Tanu Sood" userId="e2db75ea63d2bb3f" providerId="LiveId" clId="{540FC9E8-8425-4C57-B6D7-A2A63A28C955}" dt="2022-08-14T09:37:36.497" v="155" actId="20577"/>
          <ac:spMkLst>
            <pc:docMk/>
            <pc:sldMk cId="3295930144" sldId="268"/>
            <ac:spMk id="4" creationId="{49CD23CB-21BE-E866-D01E-7AD1A37B9B86}"/>
          </ac:spMkLst>
        </pc:spChg>
      </pc:sldChg>
      <pc:sldChg chg="addSp delSp modSp del mod ord">
        <pc:chgData name="Tanu Sood" userId="e2db75ea63d2bb3f" providerId="LiveId" clId="{540FC9E8-8425-4C57-B6D7-A2A63A28C955}" dt="2022-09-18T00:53:50.945" v="12566" actId="2696"/>
        <pc:sldMkLst>
          <pc:docMk/>
          <pc:sldMk cId="381645676" sldId="269"/>
        </pc:sldMkLst>
        <pc:spChg chg="add mod">
          <ac:chgData name="Tanu Sood" userId="e2db75ea63d2bb3f" providerId="LiveId" clId="{540FC9E8-8425-4C57-B6D7-A2A63A28C955}" dt="2022-09-17T09:22:46.274" v="5205" actId="21"/>
          <ac:spMkLst>
            <pc:docMk/>
            <pc:sldMk cId="381645676" sldId="269"/>
            <ac:spMk id="3" creationId="{3B5BAD8F-096A-A621-E59B-4BE2DBBEA0CA}"/>
          </ac:spMkLst>
        </pc:spChg>
        <pc:spChg chg="del">
          <ac:chgData name="Tanu Sood" userId="e2db75ea63d2bb3f" providerId="LiveId" clId="{540FC9E8-8425-4C57-B6D7-A2A63A28C955}" dt="2022-09-17T09:22:46.274" v="5205" actId="21"/>
          <ac:spMkLst>
            <pc:docMk/>
            <pc:sldMk cId="381645676" sldId="269"/>
            <ac:spMk id="4" creationId="{49CD23CB-21BE-E866-D01E-7AD1A37B9B86}"/>
          </ac:spMkLst>
        </pc:spChg>
      </pc:sldChg>
      <pc:sldChg chg="modSp add mod ord">
        <pc:chgData name="Tanu Sood" userId="e2db75ea63d2bb3f" providerId="LiveId" clId="{540FC9E8-8425-4C57-B6D7-A2A63A28C955}" dt="2022-09-18T13:47:48.835" v="14287" actId="20577"/>
        <pc:sldMkLst>
          <pc:docMk/>
          <pc:sldMk cId="3556135542" sldId="270"/>
        </pc:sldMkLst>
        <pc:spChg chg="mod">
          <ac:chgData name="Tanu Sood" userId="e2db75ea63d2bb3f" providerId="LiveId" clId="{540FC9E8-8425-4C57-B6D7-A2A63A28C955}" dt="2022-09-18T13:47:09.307" v="14266" actId="20577"/>
          <ac:spMkLst>
            <pc:docMk/>
            <pc:sldMk cId="3556135542" sldId="270"/>
            <ac:spMk id="4" creationId="{49CD23CB-21BE-E866-D01E-7AD1A37B9B86}"/>
          </ac:spMkLst>
        </pc:spChg>
        <pc:spChg chg="mod">
          <ac:chgData name="Tanu Sood" userId="e2db75ea63d2bb3f" providerId="LiveId" clId="{540FC9E8-8425-4C57-B6D7-A2A63A28C955}" dt="2022-09-18T13:47:48.835" v="14287" actId="20577"/>
          <ac:spMkLst>
            <pc:docMk/>
            <pc:sldMk cId="3556135542" sldId="270"/>
            <ac:spMk id="8" creationId="{3C75F09A-3A02-A695-C96C-CD9496DA5CEC}"/>
          </ac:spMkLst>
        </pc:spChg>
      </pc:sldChg>
      <pc:sldChg chg="addSp delSp modSp add mod modClrScheme chgLayout">
        <pc:chgData name="Tanu Sood" userId="e2db75ea63d2bb3f" providerId="LiveId" clId="{540FC9E8-8425-4C57-B6D7-A2A63A28C955}" dt="2022-09-18T13:49:01.280" v="14289" actId="20577"/>
        <pc:sldMkLst>
          <pc:docMk/>
          <pc:sldMk cId="3574339156" sldId="271"/>
        </pc:sldMkLst>
        <pc:spChg chg="add del mod ord">
          <ac:chgData name="Tanu Sood" userId="e2db75ea63d2bb3f" providerId="LiveId" clId="{540FC9E8-8425-4C57-B6D7-A2A63A28C955}" dt="2022-09-18T02:43:33.660" v="13430" actId="700"/>
          <ac:spMkLst>
            <pc:docMk/>
            <pc:sldMk cId="3574339156" sldId="271"/>
            <ac:spMk id="2" creationId="{FA713FA2-B86D-2633-CA98-31E0365E6C63}"/>
          </ac:spMkLst>
        </pc:spChg>
        <pc:spChg chg="add mod">
          <ac:chgData name="Tanu Sood" userId="e2db75ea63d2bb3f" providerId="LiveId" clId="{540FC9E8-8425-4C57-B6D7-A2A63A28C955}" dt="2022-09-18T13:49:01.280" v="14289" actId="20577"/>
          <ac:spMkLst>
            <pc:docMk/>
            <pc:sldMk cId="3574339156" sldId="271"/>
            <ac:spMk id="3" creationId="{5CFA47BF-5569-828E-2AC5-A31CF4D2DECC}"/>
          </ac:spMkLst>
        </pc:spChg>
        <pc:spChg chg="mod ord">
          <ac:chgData name="Tanu Sood" userId="e2db75ea63d2bb3f" providerId="LiveId" clId="{540FC9E8-8425-4C57-B6D7-A2A63A28C955}" dt="2022-09-18T02:48:54.006" v="13453" actId="207"/>
          <ac:spMkLst>
            <pc:docMk/>
            <pc:sldMk cId="3574339156" sldId="271"/>
            <ac:spMk id="4" creationId="{49CD23CB-21BE-E866-D01E-7AD1A37B9B86}"/>
          </ac:spMkLst>
        </pc:spChg>
        <pc:spChg chg="add del mod ord">
          <ac:chgData name="Tanu Sood" userId="e2db75ea63d2bb3f" providerId="LiveId" clId="{540FC9E8-8425-4C57-B6D7-A2A63A28C955}" dt="2022-09-18T02:43:33.660" v="13430" actId="700"/>
          <ac:spMkLst>
            <pc:docMk/>
            <pc:sldMk cId="3574339156" sldId="271"/>
            <ac:spMk id="5" creationId="{0761F563-123D-856D-C97F-046219983FE4}"/>
          </ac:spMkLst>
        </pc:spChg>
        <pc:spChg chg="add del mod ord">
          <ac:chgData name="Tanu Sood" userId="e2db75ea63d2bb3f" providerId="LiveId" clId="{540FC9E8-8425-4C57-B6D7-A2A63A28C955}" dt="2022-09-18T02:48:51.720" v="13449" actId="700"/>
          <ac:spMkLst>
            <pc:docMk/>
            <pc:sldMk cId="3574339156" sldId="271"/>
            <ac:spMk id="6" creationId="{A47F02EA-7892-8885-31E9-CA4CE74DA98E}"/>
          </ac:spMkLst>
        </pc:spChg>
        <pc:spChg chg="add del mod ord">
          <ac:chgData name="Tanu Sood" userId="e2db75ea63d2bb3f" providerId="LiveId" clId="{540FC9E8-8425-4C57-B6D7-A2A63A28C955}" dt="2022-09-18T02:48:51.720" v="13449" actId="700"/>
          <ac:spMkLst>
            <pc:docMk/>
            <pc:sldMk cId="3574339156" sldId="271"/>
            <ac:spMk id="7" creationId="{DF7049D0-77C1-3DA3-0155-7B4D78A31E29}"/>
          </ac:spMkLst>
        </pc:spChg>
        <pc:spChg chg="del mod">
          <ac:chgData name="Tanu Sood" userId="e2db75ea63d2bb3f" providerId="LiveId" clId="{540FC9E8-8425-4C57-B6D7-A2A63A28C955}" dt="2022-08-14T10:01:27.722" v="262"/>
          <ac:spMkLst>
            <pc:docMk/>
            <pc:sldMk cId="3574339156" sldId="271"/>
            <ac:spMk id="8" creationId="{3C75F09A-3A02-A695-C96C-CD9496DA5CEC}"/>
          </ac:spMkLst>
        </pc:spChg>
      </pc:sldChg>
      <pc:sldChg chg="delSp modSp add del mod">
        <pc:chgData name="Tanu Sood" userId="e2db75ea63d2bb3f" providerId="LiveId" clId="{540FC9E8-8425-4C57-B6D7-A2A63A28C955}" dt="2022-09-17T10:19:00.048" v="7539" actId="2696"/>
        <pc:sldMkLst>
          <pc:docMk/>
          <pc:sldMk cId="887803626" sldId="272"/>
        </pc:sldMkLst>
        <pc:spChg chg="del mod">
          <ac:chgData name="Tanu Sood" userId="e2db75ea63d2bb3f" providerId="LiveId" clId="{540FC9E8-8425-4C57-B6D7-A2A63A28C955}" dt="2022-09-17T09:40:01.460" v="5410"/>
          <ac:spMkLst>
            <pc:docMk/>
            <pc:sldMk cId="887803626" sldId="272"/>
            <ac:spMk id="3" creationId="{5CFA47BF-5569-828E-2AC5-A31CF4D2DECC}"/>
          </ac:spMkLst>
        </pc:spChg>
        <pc:spChg chg="del mod">
          <ac:chgData name="Tanu Sood" userId="e2db75ea63d2bb3f" providerId="LiveId" clId="{540FC9E8-8425-4C57-B6D7-A2A63A28C955}" dt="2022-08-14T10:29:56.429" v="819" actId="478"/>
          <ac:spMkLst>
            <pc:docMk/>
            <pc:sldMk cId="887803626" sldId="272"/>
            <ac:spMk id="4" creationId="{49CD23CB-21BE-E866-D01E-7AD1A37B9B86}"/>
          </ac:spMkLst>
        </pc:spChg>
      </pc:sldChg>
      <pc:sldChg chg="addSp delSp modSp mod">
        <pc:chgData name="Tanu Sood" userId="e2db75ea63d2bb3f" providerId="LiveId" clId="{540FC9E8-8425-4C57-B6D7-A2A63A28C955}" dt="2022-09-17T22:23:49.657" v="10667" actId="255"/>
        <pc:sldMkLst>
          <pc:docMk/>
          <pc:sldMk cId="40939322" sldId="273"/>
        </pc:sldMkLst>
        <pc:spChg chg="add mod">
          <ac:chgData name="Tanu Sood" userId="e2db75ea63d2bb3f" providerId="LiveId" clId="{540FC9E8-8425-4C57-B6D7-A2A63A28C955}" dt="2022-09-17T13:13:45.621" v="10149" actId="120"/>
          <ac:spMkLst>
            <pc:docMk/>
            <pc:sldMk cId="40939322" sldId="273"/>
            <ac:spMk id="2" creationId="{E0B327C7-733B-EFE2-4563-CB49244A6350}"/>
          </ac:spMkLst>
        </pc:spChg>
        <pc:spChg chg="mod">
          <ac:chgData name="Tanu Sood" userId="e2db75ea63d2bb3f" providerId="LiveId" clId="{540FC9E8-8425-4C57-B6D7-A2A63A28C955}" dt="2022-09-17T22:23:49.657" v="10667" actId="255"/>
          <ac:spMkLst>
            <pc:docMk/>
            <pc:sldMk cId="40939322" sldId="273"/>
            <ac:spMk id="11" creationId="{00000000-0000-0000-0000-000000000000}"/>
          </ac:spMkLst>
        </pc:spChg>
        <pc:spChg chg="del mod">
          <ac:chgData name="Tanu Sood" userId="e2db75ea63d2bb3f" providerId="LiveId" clId="{540FC9E8-8425-4C57-B6D7-A2A63A28C955}" dt="2022-09-17T13:03:50.936" v="9861" actId="478"/>
          <ac:spMkLst>
            <pc:docMk/>
            <pc:sldMk cId="40939322" sldId="273"/>
            <ac:spMk id="12" creationId="{00000000-0000-0000-0000-000000000000}"/>
          </ac:spMkLst>
        </pc:spChg>
        <pc:spChg chg="mod">
          <ac:chgData name="Tanu Sood" userId="e2db75ea63d2bb3f" providerId="LiveId" clId="{540FC9E8-8425-4C57-B6D7-A2A63A28C955}" dt="2022-09-17T12:56:05.525" v="9716" actId="255"/>
          <ac:spMkLst>
            <pc:docMk/>
            <pc:sldMk cId="40939322" sldId="273"/>
            <ac:spMk id="13" creationId="{00000000-0000-0000-0000-000000000000}"/>
          </ac:spMkLst>
        </pc:spChg>
        <pc:spChg chg="mod">
          <ac:chgData name="Tanu Sood" userId="e2db75ea63d2bb3f" providerId="LiveId" clId="{540FC9E8-8425-4C57-B6D7-A2A63A28C955}" dt="2022-09-17T13:17:59.232" v="10408" actId="20577"/>
          <ac:spMkLst>
            <pc:docMk/>
            <pc:sldMk cId="40939322" sldId="273"/>
            <ac:spMk id="22" creationId="{00000000-0000-0000-0000-000000000000}"/>
          </ac:spMkLst>
        </pc:spChg>
        <pc:spChg chg="mod">
          <ac:chgData name="Tanu Sood" userId="e2db75ea63d2bb3f" providerId="LiveId" clId="{540FC9E8-8425-4C57-B6D7-A2A63A28C955}" dt="2022-09-17T13:08:59.582" v="9948" actId="20577"/>
          <ac:spMkLst>
            <pc:docMk/>
            <pc:sldMk cId="40939322" sldId="273"/>
            <ac:spMk id="23" creationId="{00000000-0000-0000-0000-000000000000}"/>
          </ac:spMkLst>
        </pc:spChg>
        <pc:spChg chg="mod">
          <ac:chgData name="Tanu Sood" userId="e2db75ea63d2bb3f" providerId="LiveId" clId="{540FC9E8-8425-4C57-B6D7-A2A63A28C955}" dt="2022-09-17T13:19:20.740" v="10479" actId="20577"/>
          <ac:spMkLst>
            <pc:docMk/>
            <pc:sldMk cId="40939322" sldId="273"/>
            <ac:spMk id="28" creationId="{00000000-0000-0000-0000-000000000000}"/>
          </ac:spMkLst>
        </pc:spChg>
        <pc:spChg chg="mod">
          <ac:chgData name="Tanu Sood" userId="e2db75ea63d2bb3f" providerId="LiveId" clId="{540FC9E8-8425-4C57-B6D7-A2A63A28C955}" dt="2022-09-17T13:14:42.821" v="10191" actId="20577"/>
          <ac:spMkLst>
            <pc:docMk/>
            <pc:sldMk cId="40939322" sldId="273"/>
            <ac:spMk id="29" creationId="{00000000-0000-0000-0000-000000000000}"/>
          </ac:spMkLst>
        </pc:spChg>
        <pc:spChg chg="add del">
          <ac:chgData name="Tanu Sood" userId="e2db75ea63d2bb3f" providerId="LiveId" clId="{540FC9E8-8425-4C57-B6D7-A2A63A28C955}" dt="2022-09-17T13:24:05.255" v="10489" actId="478"/>
          <ac:spMkLst>
            <pc:docMk/>
            <pc:sldMk cId="40939322" sldId="273"/>
            <ac:spMk id="33" creationId="{00000000-0000-0000-0000-000000000000}"/>
          </ac:spMkLst>
        </pc:spChg>
        <pc:spChg chg="del mod">
          <ac:chgData name="Tanu Sood" userId="e2db75ea63d2bb3f" providerId="LiveId" clId="{540FC9E8-8425-4C57-B6D7-A2A63A28C955}" dt="2022-09-17T13:24:09.153" v="10490" actId="478"/>
          <ac:spMkLst>
            <pc:docMk/>
            <pc:sldMk cId="40939322" sldId="273"/>
            <ac:spMk id="34" creationId="{00000000-0000-0000-0000-000000000000}"/>
          </ac:spMkLst>
        </pc:spChg>
        <pc:grpChg chg="del">
          <ac:chgData name="Tanu Sood" userId="e2db75ea63d2bb3f" providerId="LiveId" clId="{540FC9E8-8425-4C57-B6D7-A2A63A28C955}" dt="2022-09-17T13:24:15.716" v="10492" actId="478"/>
          <ac:grpSpMkLst>
            <pc:docMk/>
            <pc:sldMk cId="40939322" sldId="273"/>
            <ac:grpSpMk id="35" creationId="{00000000-0000-0000-0000-000000000000}"/>
          </ac:grpSpMkLst>
        </pc:grpChg>
        <pc:grpChg chg="del">
          <ac:chgData name="Tanu Sood" userId="e2db75ea63d2bb3f" providerId="LiveId" clId="{540FC9E8-8425-4C57-B6D7-A2A63A28C955}" dt="2022-09-17T13:24:12.355" v="10491" actId="478"/>
          <ac:grpSpMkLst>
            <pc:docMk/>
            <pc:sldMk cId="40939322" sldId="273"/>
            <ac:grpSpMk id="48" creationId="{00000000-0000-0000-0000-000000000000}"/>
          </ac:grpSpMkLst>
        </pc:grpChg>
      </pc:sldChg>
      <pc:sldChg chg="modSp add del mod ord">
        <pc:chgData name="Tanu Sood" userId="e2db75ea63d2bb3f" providerId="LiveId" clId="{540FC9E8-8425-4C57-B6D7-A2A63A28C955}" dt="2022-09-17T10:18:46.820" v="7538" actId="2696"/>
        <pc:sldMkLst>
          <pc:docMk/>
          <pc:sldMk cId="550119383" sldId="273"/>
        </pc:sldMkLst>
        <pc:spChg chg="mod">
          <ac:chgData name="Tanu Sood" userId="e2db75ea63d2bb3f" providerId="LiveId" clId="{540FC9E8-8425-4C57-B6D7-A2A63A28C955}" dt="2022-08-15T12:27:48.656" v="2650" actId="20577"/>
          <ac:spMkLst>
            <pc:docMk/>
            <pc:sldMk cId="550119383" sldId="273"/>
            <ac:spMk id="4" creationId="{FF226CC3-234B-44A7-162B-D022DD450303}"/>
          </ac:spMkLst>
        </pc:spChg>
        <pc:spChg chg="mod">
          <ac:chgData name="Tanu Sood" userId="e2db75ea63d2bb3f" providerId="LiveId" clId="{540FC9E8-8425-4C57-B6D7-A2A63A28C955}" dt="2022-08-15T12:28:01.879" v="2664" actId="20577"/>
          <ac:spMkLst>
            <pc:docMk/>
            <pc:sldMk cId="550119383" sldId="273"/>
            <ac:spMk id="9" creationId="{B1D85CE6-9303-96E7-637E-A73C99601D14}"/>
          </ac:spMkLst>
        </pc:spChg>
      </pc:sldChg>
      <pc:sldChg chg="addSp delSp modSp add mod ord delAnim modAnim">
        <pc:chgData name="Tanu Sood" userId="e2db75ea63d2bb3f" providerId="LiveId" clId="{540FC9E8-8425-4C57-B6D7-A2A63A28C955}" dt="2022-09-18T14:21:38.137" v="14437"/>
        <pc:sldMkLst>
          <pc:docMk/>
          <pc:sldMk cId="266486457" sldId="274"/>
        </pc:sldMkLst>
        <pc:spChg chg="add del mod">
          <ac:chgData name="Tanu Sood" userId="e2db75ea63d2bb3f" providerId="LiveId" clId="{540FC9E8-8425-4C57-B6D7-A2A63A28C955}" dt="2022-09-17T09:47:26.568" v="5482" actId="22"/>
          <ac:spMkLst>
            <pc:docMk/>
            <pc:sldMk cId="266486457" sldId="274"/>
            <ac:spMk id="3" creationId="{76E2FC75-5377-E5D9-A19A-CC345BCCE553}"/>
          </ac:spMkLst>
        </pc:spChg>
        <pc:spChg chg="mod">
          <ac:chgData name="Tanu Sood" userId="e2db75ea63d2bb3f" providerId="LiveId" clId="{540FC9E8-8425-4C57-B6D7-A2A63A28C955}" dt="2022-09-18T02:40:40.660" v="13419" actId="113"/>
          <ac:spMkLst>
            <pc:docMk/>
            <pc:sldMk cId="266486457" sldId="274"/>
            <ac:spMk id="4" creationId="{FF226CC3-234B-44A7-162B-D022DD450303}"/>
          </ac:spMkLst>
        </pc:spChg>
        <pc:spChg chg="add del">
          <ac:chgData name="Tanu Sood" userId="e2db75ea63d2bb3f" providerId="LiveId" clId="{540FC9E8-8425-4C57-B6D7-A2A63A28C955}" dt="2022-09-17T09:52:51.069" v="5613" actId="22"/>
          <ac:spMkLst>
            <pc:docMk/>
            <pc:sldMk cId="266486457" sldId="274"/>
            <ac:spMk id="6" creationId="{FDB8BACD-9F67-C2CB-8AE0-87A973807DD6}"/>
          </ac:spMkLst>
        </pc:spChg>
        <pc:spChg chg="add del">
          <ac:chgData name="Tanu Sood" userId="e2db75ea63d2bb3f" providerId="LiveId" clId="{540FC9E8-8425-4C57-B6D7-A2A63A28C955}" dt="2022-09-17T09:57:23.328" v="5810" actId="22"/>
          <ac:spMkLst>
            <pc:docMk/>
            <pc:sldMk cId="266486457" sldId="274"/>
            <ac:spMk id="8" creationId="{67E49357-B692-296F-C3A6-9E72375194AB}"/>
          </ac:spMkLst>
        </pc:spChg>
        <pc:spChg chg="add mod">
          <ac:chgData name="Tanu Sood" userId="e2db75ea63d2bb3f" providerId="LiveId" clId="{540FC9E8-8425-4C57-B6D7-A2A63A28C955}" dt="2022-09-18T02:45:41.928" v="13437" actId="113"/>
          <ac:spMkLst>
            <pc:docMk/>
            <pc:sldMk cId="266486457" sldId="274"/>
            <ac:spMk id="9" creationId="{4EFED542-1BB5-8777-5198-C157EDB8950B}"/>
          </ac:spMkLst>
        </pc:spChg>
        <pc:spChg chg="add del mod">
          <ac:chgData name="Tanu Sood" userId="e2db75ea63d2bb3f" providerId="LiveId" clId="{540FC9E8-8425-4C57-B6D7-A2A63A28C955}" dt="2022-09-17T10:03:40.248" v="6247" actId="21"/>
          <ac:spMkLst>
            <pc:docMk/>
            <pc:sldMk cId="266486457" sldId="274"/>
            <ac:spMk id="10" creationId="{6F5B0B22-52AD-1997-9DE1-37451AE4670A}"/>
          </ac:spMkLst>
        </pc:spChg>
        <pc:spChg chg="add mod">
          <ac:chgData name="Tanu Sood" userId="e2db75ea63d2bb3f" providerId="LiveId" clId="{540FC9E8-8425-4C57-B6D7-A2A63A28C955}" dt="2022-09-18T02:45:41.928" v="13437" actId="113"/>
          <ac:spMkLst>
            <pc:docMk/>
            <pc:sldMk cId="266486457" sldId="274"/>
            <ac:spMk id="11" creationId="{4E2983F5-048B-A93B-95A1-6E5FC2D20B5D}"/>
          </ac:spMkLst>
        </pc:spChg>
        <pc:spChg chg="del">
          <ac:chgData name="Tanu Sood" userId="e2db75ea63d2bb3f" providerId="LiveId" clId="{540FC9E8-8425-4C57-B6D7-A2A63A28C955}" dt="2022-08-15T12:10:57.119" v="1247" actId="478"/>
          <ac:spMkLst>
            <pc:docMk/>
            <pc:sldMk cId="266486457" sldId="274"/>
            <ac:spMk id="11" creationId="{E4FDDFD4-8838-300D-13E6-786A5C414392}"/>
          </ac:spMkLst>
        </pc:spChg>
        <pc:spChg chg="add mod">
          <ac:chgData name="Tanu Sood" userId="e2db75ea63d2bb3f" providerId="LiveId" clId="{540FC9E8-8425-4C57-B6D7-A2A63A28C955}" dt="2022-09-18T02:45:41.928" v="13437" actId="113"/>
          <ac:spMkLst>
            <pc:docMk/>
            <pc:sldMk cId="266486457" sldId="274"/>
            <ac:spMk id="12" creationId="{A1A84C55-1362-DB95-05D4-9F7C717CB164}"/>
          </ac:spMkLst>
        </pc:spChg>
        <pc:spChg chg="add mod">
          <ac:chgData name="Tanu Sood" userId="e2db75ea63d2bb3f" providerId="LiveId" clId="{540FC9E8-8425-4C57-B6D7-A2A63A28C955}" dt="2022-09-18T02:45:41.928" v="13437" actId="113"/>
          <ac:spMkLst>
            <pc:docMk/>
            <pc:sldMk cId="266486457" sldId="274"/>
            <ac:spMk id="14" creationId="{280BF431-2BED-7254-A0D7-63E8EE40A2DA}"/>
          </ac:spMkLst>
        </pc:spChg>
        <pc:spChg chg="add mod">
          <ac:chgData name="Tanu Sood" userId="e2db75ea63d2bb3f" providerId="LiveId" clId="{540FC9E8-8425-4C57-B6D7-A2A63A28C955}" dt="2022-09-18T02:45:41.928" v="13437" actId="113"/>
          <ac:spMkLst>
            <pc:docMk/>
            <pc:sldMk cId="266486457" sldId="274"/>
            <ac:spMk id="15" creationId="{38982180-5E45-D7E8-B6A0-240212F59B2B}"/>
          </ac:spMkLst>
        </pc:spChg>
        <pc:spChg chg="add mod">
          <ac:chgData name="Tanu Sood" userId="e2db75ea63d2bb3f" providerId="LiveId" clId="{540FC9E8-8425-4C57-B6D7-A2A63A28C955}" dt="2022-09-18T02:45:41.928" v="13437" actId="113"/>
          <ac:spMkLst>
            <pc:docMk/>
            <pc:sldMk cId="266486457" sldId="274"/>
            <ac:spMk id="16" creationId="{AB1213AA-82C1-8567-7C01-E4FF4FB609F6}"/>
          </ac:spMkLst>
        </pc:spChg>
        <pc:spChg chg="add mod">
          <ac:chgData name="Tanu Sood" userId="e2db75ea63d2bb3f" providerId="LiveId" clId="{540FC9E8-8425-4C57-B6D7-A2A63A28C955}" dt="2022-09-18T02:45:41.928" v="13437" actId="113"/>
          <ac:spMkLst>
            <pc:docMk/>
            <pc:sldMk cId="266486457" sldId="274"/>
            <ac:spMk id="17" creationId="{4EE8C7FC-A188-C2A5-F29C-43A75B54D89C}"/>
          </ac:spMkLst>
        </pc:spChg>
        <pc:spChg chg="add mod">
          <ac:chgData name="Tanu Sood" userId="e2db75ea63d2bb3f" providerId="LiveId" clId="{540FC9E8-8425-4C57-B6D7-A2A63A28C955}" dt="2022-09-18T02:45:41.928" v="13437" actId="113"/>
          <ac:spMkLst>
            <pc:docMk/>
            <pc:sldMk cId="266486457" sldId="274"/>
            <ac:spMk id="18" creationId="{6BE5708B-9AD9-9F54-A1A9-2226E5BA39D6}"/>
          </ac:spMkLst>
        </pc:spChg>
        <pc:spChg chg="del">
          <ac:chgData name="Tanu Sood" userId="e2db75ea63d2bb3f" providerId="LiveId" clId="{540FC9E8-8425-4C57-B6D7-A2A63A28C955}" dt="2022-08-15T12:22:30.421" v="2268" actId="478"/>
          <ac:spMkLst>
            <pc:docMk/>
            <pc:sldMk cId="266486457" sldId="274"/>
            <ac:spMk id="19" creationId="{C55405E5-FAC0-473C-3185-14F6CAF7CF84}"/>
          </ac:spMkLst>
        </pc:spChg>
        <pc:spChg chg="add mod">
          <ac:chgData name="Tanu Sood" userId="e2db75ea63d2bb3f" providerId="LiveId" clId="{540FC9E8-8425-4C57-B6D7-A2A63A28C955}" dt="2022-09-18T02:45:41.928" v="13437" actId="113"/>
          <ac:spMkLst>
            <pc:docMk/>
            <pc:sldMk cId="266486457" sldId="274"/>
            <ac:spMk id="19" creationId="{C6DC2C7F-237D-9DB6-0F4A-DA1C0B0E2131}"/>
          </ac:spMkLst>
        </pc:spChg>
        <pc:spChg chg="add mod">
          <ac:chgData name="Tanu Sood" userId="e2db75ea63d2bb3f" providerId="LiveId" clId="{540FC9E8-8425-4C57-B6D7-A2A63A28C955}" dt="2022-09-18T02:45:41.928" v="13437" actId="113"/>
          <ac:spMkLst>
            <pc:docMk/>
            <pc:sldMk cId="266486457" sldId="274"/>
            <ac:spMk id="23" creationId="{72DD9F58-F920-0D62-B2EB-C8CD4563634F}"/>
          </ac:spMkLst>
        </pc:spChg>
        <pc:spChg chg="del mod">
          <ac:chgData name="Tanu Sood" userId="e2db75ea63d2bb3f" providerId="LiveId" clId="{540FC9E8-8425-4C57-B6D7-A2A63A28C955}" dt="2022-08-15T12:05:07.024" v="1219" actId="478"/>
          <ac:spMkLst>
            <pc:docMk/>
            <pc:sldMk cId="266486457" sldId="274"/>
            <ac:spMk id="24" creationId="{548385FB-DC32-AF86-3EEB-C76C8DC9EC13}"/>
          </ac:spMkLst>
        </pc:spChg>
        <pc:spChg chg="del">
          <ac:chgData name="Tanu Sood" userId="e2db75ea63d2bb3f" providerId="LiveId" clId="{540FC9E8-8425-4C57-B6D7-A2A63A28C955}" dt="2022-08-15T12:05:11.782" v="1220" actId="478"/>
          <ac:spMkLst>
            <pc:docMk/>
            <pc:sldMk cId="266486457" sldId="274"/>
            <ac:spMk id="27" creationId="{449591F7-A9F8-79DF-4B2F-F72C7ADCCF71}"/>
          </ac:spMkLst>
        </pc:spChg>
        <pc:spChg chg="del">
          <ac:chgData name="Tanu Sood" userId="e2db75ea63d2bb3f" providerId="LiveId" clId="{540FC9E8-8425-4C57-B6D7-A2A63A28C955}" dt="2022-08-15T12:15:19.605" v="1671" actId="21"/>
          <ac:spMkLst>
            <pc:docMk/>
            <pc:sldMk cId="266486457" sldId="274"/>
            <ac:spMk id="28" creationId="{C860E69F-6204-973D-0877-0B5A319011CE}"/>
          </ac:spMkLst>
        </pc:spChg>
        <pc:spChg chg="del">
          <ac:chgData name="Tanu Sood" userId="e2db75ea63d2bb3f" providerId="LiveId" clId="{540FC9E8-8425-4C57-B6D7-A2A63A28C955}" dt="2022-08-15T12:22:26.703" v="2267" actId="478"/>
          <ac:spMkLst>
            <pc:docMk/>
            <pc:sldMk cId="266486457" sldId="274"/>
            <ac:spMk id="29" creationId="{A7A9A5F7-B173-C0AA-6259-2F38EC90AB9E}"/>
          </ac:spMkLst>
        </pc:spChg>
        <pc:spChg chg="del mod">
          <ac:chgData name="Tanu Sood" userId="e2db75ea63d2bb3f" providerId="LiveId" clId="{540FC9E8-8425-4C57-B6D7-A2A63A28C955}" dt="2022-08-15T12:22:22.773" v="2266" actId="478"/>
          <ac:spMkLst>
            <pc:docMk/>
            <pc:sldMk cId="266486457" sldId="274"/>
            <ac:spMk id="30" creationId="{6BED738A-E859-64DB-B1B8-EC317565DAEB}"/>
          </ac:spMkLst>
        </pc:spChg>
        <pc:spChg chg="del">
          <ac:chgData name="Tanu Sood" userId="e2db75ea63d2bb3f" providerId="LiveId" clId="{540FC9E8-8425-4C57-B6D7-A2A63A28C955}" dt="2022-08-15T12:08:52.256" v="1238" actId="478"/>
          <ac:spMkLst>
            <pc:docMk/>
            <pc:sldMk cId="266486457" sldId="274"/>
            <ac:spMk id="31" creationId="{7C0A6824-1384-3BD8-6A1D-0728BD5CDA73}"/>
          </ac:spMkLst>
        </pc:spChg>
        <pc:spChg chg="del">
          <ac:chgData name="Tanu Sood" userId="e2db75ea63d2bb3f" providerId="LiveId" clId="{540FC9E8-8425-4C57-B6D7-A2A63A28C955}" dt="2022-08-15T12:08:57.060" v="1240" actId="478"/>
          <ac:spMkLst>
            <pc:docMk/>
            <pc:sldMk cId="266486457" sldId="274"/>
            <ac:spMk id="32" creationId="{DC06DE06-2C51-3B6D-77D0-0504EFCB842C}"/>
          </ac:spMkLst>
        </pc:spChg>
        <pc:spChg chg="del">
          <ac:chgData name="Tanu Sood" userId="e2db75ea63d2bb3f" providerId="LiveId" clId="{540FC9E8-8425-4C57-B6D7-A2A63A28C955}" dt="2022-08-15T12:04:49.192" v="1213" actId="478"/>
          <ac:spMkLst>
            <pc:docMk/>
            <pc:sldMk cId="266486457" sldId="274"/>
            <ac:spMk id="33" creationId="{F7C57BD3-EA98-D648-24F7-0CDEFA423061}"/>
          </ac:spMkLst>
        </pc:spChg>
        <pc:spChg chg="del">
          <ac:chgData name="Tanu Sood" userId="e2db75ea63d2bb3f" providerId="LiveId" clId="{540FC9E8-8425-4C57-B6D7-A2A63A28C955}" dt="2022-08-15T12:08:55.029" v="1239" actId="478"/>
          <ac:spMkLst>
            <pc:docMk/>
            <pc:sldMk cId="266486457" sldId="274"/>
            <ac:spMk id="34" creationId="{3DE84E9D-FC98-2FE5-7E7D-3FCA25CB1BE2}"/>
          </ac:spMkLst>
        </pc:spChg>
        <pc:spChg chg="del">
          <ac:chgData name="Tanu Sood" userId="e2db75ea63d2bb3f" providerId="LiveId" clId="{540FC9E8-8425-4C57-B6D7-A2A63A28C955}" dt="2022-08-15T12:04:52.179" v="1214" actId="478"/>
          <ac:spMkLst>
            <pc:docMk/>
            <pc:sldMk cId="266486457" sldId="274"/>
            <ac:spMk id="35" creationId="{0FD9A293-1423-CF1B-0B10-0493819C04C2}"/>
          </ac:spMkLst>
        </pc:spChg>
        <pc:spChg chg="del">
          <ac:chgData name="Tanu Sood" userId="e2db75ea63d2bb3f" providerId="LiveId" clId="{540FC9E8-8425-4C57-B6D7-A2A63A28C955}" dt="2022-08-15T12:15:11.377" v="1670" actId="478"/>
          <ac:spMkLst>
            <pc:docMk/>
            <pc:sldMk cId="266486457" sldId="274"/>
            <ac:spMk id="36" creationId="{B0974ED1-DB8C-356F-18D2-3CE4EF701277}"/>
          </ac:spMkLst>
        </pc:spChg>
        <pc:spChg chg="add mod">
          <ac:chgData name="Tanu Sood" userId="e2db75ea63d2bb3f" providerId="LiveId" clId="{540FC9E8-8425-4C57-B6D7-A2A63A28C955}" dt="2022-09-18T02:45:41.928" v="13437" actId="113"/>
          <ac:spMkLst>
            <pc:docMk/>
            <pc:sldMk cId="266486457" sldId="274"/>
            <ac:spMk id="38" creationId="{47D03F37-3C9F-1362-D424-70A7C0D72CB8}"/>
          </ac:spMkLst>
        </pc:spChg>
        <pc:spChg chg="add mod">
          <ac:chgData name="Tanu Sood" userId="e2db75ea63d2bb3f" providerId="LiveId" clId="{540FC9E8-8425-4C57-B6D7-A2A63A28C955}" dt="2022-09-18T02:45:41.928" v="13437" actId="113"/>
          <ac:spMkLst>
            <pc:docMk/>
            <pc:sldMk cId="266486457" sldId="274"/>
            <ac:spMk id="39" creationId="{99D0076B-AD0E-AE82-09F5-FCD8D7D12BBF}"/>
          </ac:spMkLst>
        </pc:spChg>
        <pc:spChg chg="del">
          <ac:chgData name="Tanu Sood" userId="e2db75ea63d2bb3f" providerId="LiveId" clId="{540FC9E8-8425-4C57-B6D7-A2A63A28C955}" dt="2022-08-15T12:08:58.934" v="1241" actId="478"/>
          <ac:spMkLst>
            <pc:docMk/>
            <pc:sldMk cId="266486457" sldId="274"/>
            <ac:spMk id="40" creationId="{DA2496F4-B11A-5DFF-C6D7-1BB0111F1B2A}"/>
          </ac:spMkLst>
        </pc:spChg>
        <pc:spChg chg="del mod">
          <ac:chgData name="Tanu Sood" userId="e2db75ea63d2bb3f" providerId="LiveId" clId="{540FC9E8-8425-4C57-B6D7-A2A63A28C955}" dt="2022-08-15T12:05:17.006" v="1222" actId="478"/>
          <ac:spMkLst>
            <pc:docMk/>
            <pc:sldMk cId="266486457" sldId="274"/>
            <ac:spMk id="41" creationId="{30CCEB21-0B25-937F-0BD2-B3DF4379691F}"/>
          </ac:spMkLst>
        </pc:spChg>
        <pc:spChg chg="mod">
          <ac:chgData name="Tanu Sood" userId="e2db75ea63d2bb3f" providerId="LiveId" clId="{540FC9E8-8425-4C57-B6D7-A2A63A28C955}" dt="2022-09-18T02:45:41.928" v="13437" actId="113"/>
          <ac:spMkLst>
            <pc:docMk/>
            <pc:sldMk cId="266486457" sldId="274"/>
            <ac:spMk id="43" creationId="{EEE8FAC7-8822-B172-B4C1-4B6F4F851BE4}"/>
          </ac:spMkLst>
        </pc:spChg>
        <pc:spChg chg="mod">
          <ac:chgData name="Tanu Sood" userId="e2db75ea63d2bb3f" providerId="LiveId" clId="{540FC9E8-8425-4C57-B6D7-A2A63A28C955}" dt="2022-09-18T02:45:41.928" v="13437" actId="113"/>
          <ac:spMkLst>
            <pc:docMk/>
            <pc:sldMk cId="266486457" sldId="274"/>
            <ac:spMk id="44" creationId="{4FF625EE-BCFB-9A88-7D19-8638AA8EABA7}"/>
          </ac:spMkLst>
        </pc:spChg>
        <pc:spChg chg="del">
          <ac:chgData name="Tanu Sood" userId="e2db75ea63d2bb3f" providerId="LiveId" clId="{540FC9E8-8425-4C57-B6D7-A2A63A28C955}" dt="2022-08-15T12:09:01.124" v="1242" actId="478"/>
          <ac:spMkLst>
            <pc:docMk/>
            <pc:sldMk cId="266486457" sldId="274"/>
            <ac:spMk id="45" creationId="{12AA08DC-2EF9-5D91-0138-5C88CA02F2BB}"/>
          </ac:spMkLst>
        </pc:spChg>
        <pc:spChg chg="mod">
          <ac:chgData name="Tanu Sood" userId="e2db75ea63d2bb3f" providerId="LiveId" clId="{540FC9E8-8425-4C57-B6D7-A2A63A28C955}" dt="2022-09-18T02:45:41.928" v="13437" actId="113"/>
          <ac:spMkLst>
            <pc:docMk/>
            <pc:sldMk cId="266486457" sldId="274"/>
            <ac:spMk id="46" creationId="{A8CC0A7A-7504-4F35-6F9D-3A85C797FCB2}"/>
          </ac:spMkLst>
        </pc:spChg>
        <pc:spChg chg="mod">
          <ac:chgData name="Tanu Sood" userId="e2db75ea63d2bb3f" providerId="LiveId" clId="{540FC9E8-8425-4C57-B6D7-A2A63A28C955}" dt="2022-09-18T02:45:41.928" v="13437" actId="113"/>
          <ac:spMkLst>
            <pc:docMk/>
            <pc:sldMk cId="266486457" sldId="274"/>
            <ac:spMk id="47" creationId="{0CAC473D-D37F-C41A-5B91-A56DBA51B684}"/>
          </ac:spMkLst>
        </pc:spChg>
        <pc:spChg chg="mod">
          <ac:chgData name="Tanu Sood" userId="e2db75ea63d2bb3f" providerId="LiveId" clId="{540FC9E8-8425-4C57-B6D7-A2A63A28C955}" dt="2022-09-18T02:45:41.928" v="13437" actId="113"/>
          <ac:spMkLst>
            <pc:docMk/>
            <pc:sldMk cId="266486457" sldId="274"/>
            <ac:spMk id="48" creationId="{D532B59E-888C-43A9-0D62-E9EC999DEBF9}"/>
          </ac:spMkLst>
        </pc:spChg>
        <pc:spChg chg="add mod">
          <ac:chgData name="Tanu Sood" userId="e2db75ea63d2bb3f" providerId="LiveId" clId="{540FC9E8-8425-4C57-B6D7-A2A63A28C955}" dt="2022-09-18T02:45:41.928" v="13437" actId="113"/>
          <ac:spMkLst>
            <pc:docMk/>
            <pc:sldMk cId="266486457" sldId="274"/>
            <ac:spMk id="49" creationId="{205A301B-017B-5B2A-253D-57800A21F843}"/>
          </ac:spMkLst>
        </pc:spChg>
        <pc:spChg chg="add del mod">
          <ac:chgData name="Tanu Sood" userId="e2db75ea63d2bb3f" providerId="LiveId" clId="{540FC9E8-8425-4C57-B6D7-A2A63A28C955}" dt="2022-08-15T12:17:10.506" v="1798"/>
          <ac:spMkLst>
            <pc:docMk/>
            <pc:sldMk cId="266486457" sldId="274"/>
            <ac:spMk id="50" creationId="{266EA23E-F12D-1C7E-2A19-FAD149367CE7}"/>
          </ac:spMkLst>
        </pc:spChg>
        <pc:spChg chg="add del mod">
          <ac:chgData name="Tanu Sood" userId="e2db75ea63d2bb3f" providerId="LiveId" clId="{540FC9E8-8425-4C57-B6D7-A2A63A28C955}" dt="2022-08-15T12:17:10.105" v="1797"/>
          <ac:spMkLst>
            <pc:docMk/>
            <pc:sldMk cId="266486457" sldId="274"/>
            <ac:spMk id="51" creationId="{C7606DF4-1208-E62F-B543-97EE25056F81}"/>
          </ac:spMkLst>
        </pc:spChg>
        <pc:spChg chg="add del mod">
          <ac:chgData name="Tanu Sood" userId="e2db75ea63d2bb3f" providerId="LiveId" clId="{540FC9E8-8425-4C57-B6D7-A2A63A28C955}" dt="2022-08-15T12:17:09.750" v="1796"/>
          <ac:spMkLst>
            <pc:docMk/>
            <pc:sldMk cId="266486457" sldId="274"/>
            <ac:spMk id="52" creationId="{9478A275-A1ED-C32B-3480-28B64E926008}"/>
          </ac:spMkLst>
        </pc:spChg>
        <pc:spChg chg="add del mod">
          <ac:chgData name="Tanu Sood" userId="e2db75ea63d2bb3f" providerId="LiveId" clId="{540FC9E8-8425-4C57-B6D7-A2A63A28C955}" dt="2022-08-15T12:17:09.414" v="1795"/>
          <ac:spMkLst>
            <pc:docMk/>
            <pc:sldMk cId="266486457" sldId="274"/>
            <ac:spMk id="53" creationId="{A9AC300B-A6C8-FAAC-DB5B-688E63A78F76}"/>
          </ac:spMkLst>
        </pc:spChg>
        <pc:spChg chg="add mod">
          <ac:chgData name="Tanu Sood" userId="e2db75ea63d2bb3f" providerId="LiveId" clId="{540FC9E8-8425-4C57-B6D7-A2A63A28C955}" dt="2022-09-18T02:45:41.928" v="13437" actId="113"/>
          <ac:spMkLst>
            <pc:docMk/>
            <pc:sldMk cId="266486457" sldId="274"/>
            <ac:spMk id="54" creationId="{486E9117-8B19-F79A-C89A-0495A4651517}"/>
          </ac:spMkLst>
        </pc:spChg>
        <pc:spChg chg="add mod">
          <ac:chgData name="Tanu Sood" userId="e2db75ea63d2bb3f" providerId="LiveId" clId="{540FC9E8-8425-4C57-B6D7-A2A63A28C955}" dt="2022-09-18T02:45:41.928" v="13437" actId="113"/>
          <ac:spMkLst>
            <pc:docMk/>
            <pc:sldMk cId="266486457" sldId="274"/>
            <ac:spMk id="55" creationId="{7C419F71-ABB3-42EA-22D7-2042D0A625DB}"/>
          </ac:spMkLst>
        </pc:spChg>
        <pc:spChg chg="add mod">
          <ac:chgData name="Tanu Sood" userId="e2db75ea63d2bb3f" providerId="LiveId" clId="{540FC9E8-8425-4C57-B6D7-A2A63A28C955}" dt="2022-09-18T02:45:41.928" v="13437" actId="113"/>
          <ac:spMkLst>
            <pc:docMk/>
            <pc:sldMk cId="266486457" sldId="274"/>
            <ac:spMk id="56" creationId="{603FC7D9-512D-9B5C-40AE-306DC9826DAA}"/>
          </ac:spMkLst>
        </pc:spChg>
        <pc:spChg chg="add del mod">
          <ac:chgData name="Tanu Sood" userId="e2db75ea63d2bb3f" providerId="LiveId" clId="{540FC9E8-8425-4C57-B6D7-A2A63A28C955}" dt="2022-09-17T10:11:00.622" v="7051" actId="478"/>
          <ac:spMkLst>
            <pc:docMk/>
            <pc:sldMk cId="266486457" sldId="274"/>
            <ac:spMk id="57" creationId="{F912626C-C66B-6437-4201-2722B7E7375E}"/>
          </ac:spMkLst>
        </pc:spChg>
        <pc:spChg chg="add del mod">
          <ac:chgData name="Tanu Sood" userId="e2db75ea63d2bb3f" providerId="LiveId" clId="{540FC9E8-8425-4C57-B6D7-A2A63A28C955}" dt="2022-09-17T09:52:29.065" v="5611" actId="478"/>
          <ac:spMkLst>
            <pc:docMk/>
            <pc:sldMk cId="266486457" sldId="274"/>
            <ac:spMk id="58" creationId="{907EEDD0-82E2-AD17-F980-6E2AA1928FDE}"/>
          </ac:spMkLst>
        </pc:spChg>
        <pc:spChg chg="add mod">
          <ac:chgData name="Tanu Sood" userId="e2db75ea63d2bb3f" providerId="LiveId" clId="{540FC9E8-8425-4C57-B6D7-A2A63A28C955}" dt="2022-09-18T02:45:41.928" v="13437" actId="113"/>
          <ac:spMkLst>
            <pc:docMk/>
            <pc:sldMk cId="266486457" sldId="274"/>
            <ac:spMk id="59" creationId="{F4361322-7AD0-E2A6-EAD9-8E4CD88FB4DC}"/>
          </ac:spMkLst>
        </pc:spChg>
        <pc:spChg chg="add mod">
          <ac:chgData name="Tanu Sood" userId="e2db75ea63d2bb3f" providerId="LiveId" clId="{540FC9E8-8425-4C57-B6D7-A2A63A28C955}" dt="2022-09-18T02:45:41.928" v="13437" actId="113"/>
          <ac:spMkLst>
            <pc:docMk/>
            <pc:sldMk cId="266486457" sldId="274"/>
            <ac:spMk id="60" creationId="{BE6010D2-025C-FED6-ACE9-0B77760309B2}"/>
          </ac:spMkLst>
        </pc:spChg>
        <pc:spChg chg="add mod">
          <ac:chgData name="Tanu Sood" userId="e2db75ea63d2bb3f" providerId="LiveId" clId="{540FC9E8-8425-4C57-B6D7-A2A63A28C955}" dt="2022-09-18T02:45:41.928" v="13437" actId="113"/>
          <ac:spMkLst>
            <pc:docMk/>
            <pc:sldMk cId="266486457" sldId="274"/>
            <ac:spMk id="61" creationId="{63F569DF-DB40-BEDA-1354-79F08681A193}"/>
          </ac:spMkLst>
        </pc:spChg>
        <pc:spChg chg="add mod">
          <ac:chgData name="Tanu Sood" userId="e2db75ea63d2bb3f" providerId="LiveId" clId="{540FC9E8-8425-4C57-B6D7-A2A63A28C955}" dt="2022-09-18T02:45:41.928" v="13437" actId="113"/>
          <ac:spMkLst>
            <pc:docMk/>
            <pc:sldMk cId="266486457" sldId="274"/>
            <ac:spMk id="62" creationId="{3AF9BD64-2805-5F9F-EE09-1AC107A76271}"/>
          </ac:spMkLst>
        </pc:spChg>
        <pc:spChg chg="add mod">
          <ac:chgData name="Tanu Sood" userId="e2db75ea63d2bb3f" providerId="LiveId" clId="{540FC9E8-8425-4C57-B6D7-A2A63A28C955}" dt="2022-09-18T02:45:41.928" v="13437" actId="113"/>
          <ac:spMkLst>
            <pc:docMk/>
            <pc:sldMk cId="266486457" sldId="274"/>
            <ac:spMk id="63" creationId="{F3B16376-6BE8-5461-2C7B-36799CC097A8}"/>
          </ac:spMkLst>
        </pc:spChg>
        <pc:spChg chg="add mod">
          <ac:chgData name="Tanu Sood" userId="e2db75ea63d2bb3f" providerId="LiveId" clId="{540FC9E8-8425-4C57-B6D7-A2A63A28C955}" dt="2022-09-18T02:45:41.928" v="13437" actId="113"/>
          <ac:spMkLst>
            <pc:docMk/>
            <pc:sldMk cId="266486457" sldId="274"/>
            <ac:spMk id="64" creationId="{00E494CD-591F-DCF5-8A88-2D29656C700D}"/>
          </ac:spMkLst>
        </pc:spChg>
        <pc:spChg chg="add mod">
          <ac:chgData name="Tanu Sood" userId="e2db75ea63d2bb3f" providerId="LiveId" clId="{540FC9E8-8425-4C57-B6D7-A2A63A28C955}" dt="2022-09-18T02:45:41.928" v="13437" actId="113"/>
          <ac:spMkLst>
            <pc:docMk/>
            <pc:sldMk cId="266486457" sldId="274"/>
            <ac:spMk id="65" creationId="{0D7408CF-B713-1A06-CBF8-DFB468025F23}"/>
          </ac:spMkLst>
        </pc:spChg>
        <pc:spChg chg="add mod">
          <ac:chgData name="Tanu Sood" userId="e2db75ea63d2bb3f" providerId="LiveId" clId="{540FC9E8-8425-4C57-B6D7-A2A63A28C955}" dt="2022-09-18T02:45:41.928" v="13437" actId="113"/>
          <ac:spMkLst>
            <pc:docMk/>
            <pc:sldMk cId="266486457" sldId="274"/>
            <ac:spMk id="66" creationId="{36A6C66E-A5B4-854D-DE4C-338BFE50AEF8}"/>
          </ac:spMkLst>
        </pc:spChg>
        <pc:spChg chg="add mod">
          <ac:chgData name="Tanu Sood" userId="e2db75ea63d2bb3f" providerId="LiveId" clId="{540FC9E8-8425-4C57-B6D7-A2A63A28C955}" dt="2022-09-18T02:45:41.928" v="13437" actId="113"/>
          <ac:spMkLst>
            <pc:docMk/>
            <pc:sldMk cId="266486457" sldId="274"/>
            <ac:spMk id="67" creationId="{FA4EA8B3-05BB-CFA5-9312-BD4855C91023}"/>
          </ac:spMkLst>
        </pc:spChg>
        <pc:spChg chg="add mod">
          <ac:chgData name="Tanu Sood" userId="e2db75ea63d2bb3f" providerId="LiveId" clId="{540FC9E8-8425-4C57-B6D7-A2A63A28C955}" dt="2022-09-18T02:45:41.928" v="13437" actId="113"/>
          <ac:spMkLst>
            <pc:docMk/>
            <pc:sldMk cId="266486457" sldId="274"/>
            <ac:spMk id="68" creationId="{4249E361-9C93-D80E-E900-1F601396107D}"/>
          </ac:spMkLst>
        </pc:spChg>
        <pc:spChg chg="add del mod">
          <ac:chgData name="Tanu Sood" userId="e2db75ea63d2bb3f" providerId="LiveId" clId="{540FC9E8-8425-4C57-B6D7-A2A63A28C955}" dt="2022-08-15T12:37:44.260" v="3009" actId="478"/>
          <ac:spMkLst>
            <pc:docMk/>
            <pc:sldMk cId="266486457" sldId="274"/>
            <ac:spMk id="69" creationId="{CFD12855-6123-99C6-B8B6-3610A6555D57}"/>
          </ac:spMkLst>
        </pc:spChg>
        <pc:spChg chg="add mod">
          <ac:chgData name="Tanu Sood" userId="e2db75ea63d2bb3f" providerId="LiveId" clId="{540FC9E8-8425-4C57-B6D7-A2A63A28C955}" dt="2022-09-18T02:45:41.928" v="13437" actId="113"/>
          <ac:spMkLst>
            <pc:docMk/>
            <pc:sldMk cId="266486457" sldId="274"/>
            <ac:spMk id="70" creationId="{98BA5025-74EC-C2C5-7F77-7BEBEE40BF87}"/>
          </ac:spMkLst>
        </pc:spChg>
        <pc:spChg chg="add del mod">
          <ac:chgData name="Tanu Sood" userId="e2db75ea63d2bb3f" providerId="LiveId" clId="{540FC9E8-8425-4C57-B6D7-A2A63A28C955}" dt="2022-08-15T12:37:28.812" v="2987" actId="478"/>
          <ac:spMkLst>
            <pc:docMk/>
            <pc:sldMk cId="266486457" sldId="274"/>
            <ac:spMk id="71" creationId="{A899BBAC-15CE-B03E-47D5-D92E1A026D53}"/>
          </ac:spMkLst>
        </pc:spChg>
        <pc:spChg chg="add mod">
          <ac:chgData name="Tanu Sood" userId="e2db75ea63d2bb3f" providerId="LiveId" clId="{540FC9E8-8425-4C57-B6D7-A2A63A28C955}" dt="2022-09-18T02:45:41.928" v="13437" actId="113"/>
          <ac:spMkLst>
            <pc:docMk/>
            <pc:sldMk cId="266486457" sldId="274"/>
            <ac:spMk id="72" creationId="{7DB671C5-9009-7E62-B004-FE7A3887402C}"/>
          </ac:spMkLst>
        </pc:spChg>
        <pc:spChg chg="add mod">
          <ac:chgData name="Tanu Sood" userId="e2db75ea63d2bb3f" providerId="LiveId" clId="{540FC9E8-8425-4C57-B6D7-A2A63A28C955}" dt="2022-09-18T02:45:41.928" v="13437" actId="113"/>
          <ac:spMkLst>
            <pc:docMk/>
            <pc:sldMk cId="266486457" sldId="274"/>
            <ac:spMk id="73" creationId="{8AF05736-2FA8-321A-7CA2-0733AC6DFD6D}"/>
          </ac:spMkLst>
        </pc:spChg>
        <pc:spChg chg="add del mod">
          <ac:chgData name="Tanu Sood" userId="e2db75ea63d2bb3f" providerId="LiveId" clId="{540FC9E8-8425-4C57-B6D7-A2A63A28C955}" dt="2022-08-15T12:39:45.714" v="3067" actId="478"/>
          <ac:spMkLst>
            <pc:docMk/>
            <pc:sldMk cId="266486457" sldId="274"/>
            <ac:spMk id="76" creationId="{4869FD6C-49CD-108F-A625-FBD972C6BC7D}"/>
          </ac:spMkLst>
        </pc:spChg>
        <pc:spChg chg="add mod">
          <ac:chgData name="Tanu Sood" userId="e2db75ea63d2bb3f" providerId="LiveId" clId="{540FC9E8-8425-4C57-B6D7-A2A63A28C955}" dt="2022-09-18T02:45:41.928" v="13437" actId="113"/>
          <ac:spMkLst>
            <pc:docMk/>
            <pc:sldMk cId="266486457" sldId="274"/>
            <ac:spMk id="78" creationId="{9750C939-D547-3E73-CDCC-F45A28014BA5}"/>
          </ac:spMkLst>
        </pc:spChg>
        <pc:spChg chg="add del">
          <ac:chgData name="Tanu Sood" userId="e2db75ea63d2bb3f" providerId="LiveId" clId="{540FC9E8-8425-4C57-B6D7-A2A63A28C955}" dt="2022-08-15T12:41:54.553" v="3132" actId="478"/>
          <ac:spMkLst>
            <pc:docMk/>
            <pc:sldMk cId="266486457" sldId="274"/>
            <ac:spMk id="80" creationId="{CBEF14C6-4288-E24B-B4E1-4FE4D10CBBE1}"/>
          </ac:spMkLst>
        </pc:spChg>
        <pc:spChg chg="add mod">
          <ac:chgData name="Tanu Sood" userId="e2db75ea63d2bb3f" providerId="LiveId" clId="{540FC9E8-8425-4C57-B6D7-A2A63A28C955}" dt="2022-09-18T02:45:41.928" v="13437" actId="113"/>
          <ac:spMkLst>
            <pc:docMk/>
            <pc:sldMk cId="266486457" sldId="274"/>
            <ac:spMk id="81" creationId="{91CD2113-8B1C-F195-D300-A9201A55AD84}"/>
          </ac:spMkLst>
        </pc:spChg>
        <pc:spChg chg="add mod">
          <ac:chgData name="Tanu Sood" userId="e2db75ea63d2bb3f" providerId="LiveId" clId="{540FC9E8-8425-4C57-B6D7-A2A63A28C955}" dt="2022-09-18T02:45:41.928" v="13437" actId="113"/>
          <ac:spMkLst>
            <pc:docMk/>
            <pc:sldMk cId="266486457" sldId="274"/>
            <ac:spMk id="83" creationId="{7F7B26F8-94B1-3314-4BED-E55963F31999}"/>
          </ac:spMkLst>
        </pc:spChg>
        <pc:spChg chg="add del mod">
          <ac:chgData name="Tanu Sood" userId="e2db75ea63d2bb3f" providerId="LiveId" clId="{540FC9E8-8425-4C57-B6D7-A2A63A28C955}" dt="2022-08-15T12:51:04.846" v="4102"/>
          <ac:spMkLst>
            <pc:docMk/>
            <pc:sldMk cId="266486457" sldId="274"/>
            <ac:spMk id="84" creationId="{054652CF-B877-D212-F102-A5D4052428BC}"/>
          </ac:spMkLst>
        </pc:spChg>
        <pc:spChg chg="add del mod">
          <ac:chgData name="Tanu Sood" userId="e2db75ea63d2bb3f" providerId="LiveId" clId="{540FC9E8-8425-4C57-B6D7-A2A63A28C955}" dt="2022-08-15T12:51:21.046" v="4146" actId="478"/>
          <ac:spMkLst>
            <pc:docMk/>
            <pc:sldMk cId="266486457" sldId="274"/>
            <ac:spMk id="85" creationId="{2CC4CF13-8E92-E491-9A62-1CB11CF7C426}"/>
          </ac:spMkLst>
        </pc:spChg>
        <pc:spChg chg="add del mod">
          <ac:chgData name="Tanu Sood" userId="e2db75ea63d2bb3f" providerId="LiveId" clId="{540FC9E8-8425-4C57-B6D7-A2A63A28C955}" dt="2022-09-18T02:45:41.928" v="13437" actId="113"/>
          <ac:spMkLst>
            <pc:docMk/>
            <pc:sldMk cId="266486457" sldId="274"/>
            <ac:spMk id="86" creationId="{8B1FB4C8-BFAC-99A8-A32C-67D0B2427190}"/>
          </ac:spMkLst>
        </pc:spChg>
        <pc:spChg chg="add mod">
          <ac:chgData name="Tanu Sood" userId="e2db75ea63d2bb3f" providerId="LiveId" clId="{540FC9E8-8425-4C57-B6D7-A2A63A28C955}" dt="2022-09-18T02:45:41.928" v="13437" actId="113"/>
          <ac:spMkLst>
            <pc:docMk/>
            <pc:sldMk cId="266486457" sldId="274"/>
            <ac:spMk id="87" creationId="{AA2182F4-E019-6F6C-E758-ABE20E127FB6}"/>
          </ac:spMkLst>
        </pc:spChg>
        <pc:grpChg chg="del">
          <ac:chgData name="Tanu Sood" userId="e2db75ea63d2bb3f" providerId="LiveId" clId="{540FC9E8-8425-4C57-B6D7-A2A63A28C955}" dt="2022-08-15T12:04:46.892" v="1212" actId="478"/>
          <ac:grpSpMkLst>
            <pc:docMk/>
            <pc:sldMk cId="266486457" sldId="274"/>
            <ac:grpSpMk id="2" creationId="{00194ECE-C6C5-0DB9-6787-2971F1668D64}"/>
          </ac:grpSpMkLst>
        </pc:grpChg>
        <pc:grpChg chg="add mod">
          <ac:chgData name="Tanu Sood" userId="e2db75ea63d2bb3f" providerId="LiveId" clId="{540FC9E8-8425-4C57-B6D7-A2A63A28C955}" dt="2022-08-15T12:47:18.267" v="3822" actId="1076"/>
          <ac:grpSpMkLst>
            <pc:docMk/>
            <pc:sldMk cId="266486457" sldId="274"/>
            <ac:grpSpMk id="42" creationId="{A3BDD60B-61E0-466A-8F08-39C51DECE3A1}"/>
          </ac:grpSpMkLst>
        </pc:grpChg>
        <pc:graphicFrameChg chg="add del">
          <ac:chgData name="Tanu Sood" userId="e2db75ea63d2bb3f" providerId="LiveId" clId="{540FC9E8-8425-4C57-B6D7-A2A63A28C955}" dt="2022-08-15T12:05:56.395" v="1224" actId="3680"/>
          <ac:graphicFrameMkLst>
            <pc:docMk/>
            <pc:sldMk cId="266486457" sldId="274"/>
            <ac:graphicFrameMk id="3" creationId="{5C054EA9-4C6E-C651-23DF-493D0502C30C}"/>
          </ac:graphicFrameMkLst>
        </pc:graphicFrameChg>
        <pc:graphicFrameChg chg="add del mod modGraphic">
          <ac:chgData name="Tanu Sood" userId="e2db75ea63d2bb3f" providerId="LiveId" clId="{540FC9E8-8425-4C57-B6D7-A2A63A28C955}" dt="2022-08-15T12:07:09.345" v="1231" actId="3680"/>
          <ac:graphicFrameMkLst>
            <pc:docMk/>
            <pc:sldMk cId="266486457" sldId="274"/>
            <ac:graphicFrameMk id="10" creationId="{87BBBA92-58EA-CC3B-0DCE-C29A49015B16}"/>
          </ac:graphicFrameMkLst>
        </pc:graphicFrameChg>
        <pc:graphicFrameChg chg="add del mod">
          <ac:chgData name="Tanu Sood" userId="e2db75ea63d2bb3f" providerId="LiveId" clId="{540FC9E8-8425-4C57-B6D7-A2A63A28C955}" dt="2022-08-15T12:07:06.244" v="1229"/>
          <ac:graphicFrameMkLst>
            <pc:docMk/>
            <pc:sldMk cId="266486457" sldId="274"/>
            <ac:graphicFrameMk id="12" creationId="{925665C4-1B6A-AA47-C900-34D913DDAC95}"/>
          </ac:graphicFrameMkLst>
        </pc:graphicFrameChg>
        <pc:cxnChg chg="add mod">
          <ac:chgData name="Tanu Sood" userId="e2db75ea63d2bb3f" providerId="LiveId" clId="{540FC9E8-8425-4C57-B6D7-A2A63A28C955}" dt="2022-08-15T12:42:18.656" v="3226" actId="1036"/>
          <ac:cxnSpMkLst>
            <pc:docMk/>
            <pc:sldMk cId="266486457" sldId="274"/>
            <ac:cxnSpMk id="13" creationId="{52F6AEE1-1AF3-8898-47F6-937BD3ECCF99}"/>
          </ac:cxnSpMkLst>
        </pc:cxnChg>
        <pc:cxnChg chg="add mod">
          <ac:chgData name="Tanu Sood" userId="e2db75ea63d2bb3f" providerId="LiveId" clId="{540FC9E8-8425-4C57-B6D7-A2A63A28C955}" dt="2022-08-15T12:43:35.061" v="3317" actId="1037"/>
          <ac:cxnSpMkLst>
            <pc:docMk/>
            <pc:sldMk cId="266486457" sldId="274"/>
            <ac:cxnSpMk id="21" creationId="{185511F2-3B59-2DAF-FD2B-5B52DDC8C8F2}"/>
          </ac:cxnSpMkLst>
        </pc:cxnChg>
        <pc:cxnChg chg="add del mod">
          <ac:chgData name="Tanu Sood" userId="e2db75ea63d2bb3f" providerId="LiveId" clId="{540FC9E8-8425-4C57-B6D7-A2A63A28C955}" dt="2022-09-18T03:46:31.674" v="13502" actId="478"/>
          <ac:cxnSpMkLst>
            <pc:docMk/>
            <pc:sldMk cId="266486457" sldId="274"/>
            <ac:cxnSpMk id="22" creationId="{476A3ECB-EC22-2F9B-DCE9-297C87B7C834}"/>
          </ac:cxnSpMkLst>
        </pc:cxnChg>
        <pc:cxnChg chg="del">
          <ac:chgData name="Tanu Sood" userId="e2db75ea63d2bb3f" providerId="LiveId" clId="{540FC9E8-8425-4C57-B6D7-A2A63A28C955}" dt="2022-08-15T12:04:59.394" v="1216" actId="478"/>
          <ac:cxnSpMkLst>
            <pc:docMk/>
            <pc:sldMk cId="266486457" sldId="274"/>
            <ac:cxnSpMk id="25" creationId="{0C2FE9D3-17A1-EAB4-8163-3FC8D1536F96}"/>
          </ac:cxnSpMkLst>
        </pc:cxnChg>
        <pc:cxnChg chg="del">
          <ac:chgData name="Tanu Sood" userId="e2db75ea63d2bb3f" providerId="LiveId" clId="{540FC9E8-8425-4C57-B6D7-A2A63A28C955}" dt="2022-08-15T12:05:02.116" v="1217" actId="478"/>
          <ac:cxnSpMkLst>
            <pc:docMk/>
            <pc:sldMk cId="266486457" sldId="274"/>
            <ac:cxnSpMk id="26" creationId="{E3493A3E-8993-1C35-6879-3B34954881E9}"/>
          </ac:cxnSpMkLst>
        </pc:cxnChg>
        <pc:cxnChg chg="del">
          <ac:chgData name="Tanu Sood" userId="e2db75ea63d2bb3f" providerId="LiveId" clId="{540FC9E8-8425-4C57-B6D7-A2A63A28C955}" dt="2022-08-15T12:04:57.235" v="1215" actId="478"/>
          <ac:cxnSpMkLst>
            <pc:docMk/>
            <pc:sldMk cId="266486457" sldId="274"/>
            <ac:cxnSpMk id="37" creationId="{8C3D7179-9E5C-6023-81B6-E7A5B201B6F7}"/>
          </ac:cxnSpMkLst>
        </pc:cxnChg>
        <pc:cxnChg chg="add mod">
          <ac:chgData name="Tanu Sood" userId="e2db75ea63d2bb3f" providerId="LiveId" clId="{540FC9E8-8425-4C57-B6D7-A2A63A28C955}" dt="2022-08-15T12:42:41.261" v="3228" actId="1076"/>
          <ac:cxnSpMkLst>
            <pc:docMk/>
            <pc:sldMk cId="266486457" sldId="274"/>
            <ac:cxnSpMk id="82" creationId="{E7DE03B9-8AF7-2419-81CD-BE7324ECE0CA}"/>
          </ac:cxnSpMkLst>
        </pc:cxnChg>
      </pc:sldChg>
      <pc:sldChg chg="addSp delSp modSp add del mod ord">
        <pc:chgData name="Tanu Sood" userId="e2db75ea63d2bb3f" providerId="LiveId" clId="{540FC9E8-8425-4C57-B6D7-A2A63A28C955}" dt="2022-09-17T09:30:30.146" v="5334" actId="2696"/>
        <pc:sldMkLst>
          <pc:docMk/>
          <pc:sldMk cId="3689409412" sldId="275"/>
        </pc:sldMkLst>
        <pc:spChg chg="add mod">
          <ac:chgData name="Tanu Sood" userId="e2db75ea63d2bb3f" providerId="LiveId" clId="{540FC9E8-8425-4C57-B6D7-A2A63A28C955}" dt="2022-09-17T09:30:05.315" v="5333" actId="207"/>
          <ac:spMkLst>
            <pc:docMk/>
            <pc:sldMk cId="3689409412" sldId="275"/>
            <ac:spMk id="3" creationId="{F127EEB3-04B5-5857-7481-684E7401A013}"/>
          </ac:spMkLst>
        </pc:spChg>
        <pc:spChg chg="del mod">
          <ac:chgData name="Tanu Sood" userId="e2db75ea63d2bb3f" providerId="LiveId" clId="{540FC9E8-8425-4C57-B6D7-A2A63A28C955}" dt="2022-09-17T09:29:46.336" v="5331" actId="478"/>
          <ac:spMkLst>
            <pc:docMk/>
            <pc:sldMk cId="3689409412" sldId="275"/>
            <ac:spMk id="4" creationId="{FF226CC3-234B-44A7-162B-D022DD450303}"/>
          </ac:spMkLst>
        </pc:spChg>
        <pc:spChg chg="add mod">
          <ac:chgData name="Tanu Sood" userId="e2db75ea63d2bb3f" providerId="LiveId" clId="{540FC9E8-8425-4C57-B6D7-A2A63A28C955}" dt="2022-09-17T09:30:05.315" v="5333" actId="207"/>
          <ac:spMkLst>
            <pc:docMk/>
            <pc:sldMk cId="3689409412" sldId="275"/>
            <ac:spMk id="10" creationId="{A6B8A064-8B09-0293-883C-D000532BB64E}"/>
          </ac:spMkLst>
        </pc:spChg>
        <pc:spChg chg="add del mod">
          <ac:chgData name="Tanu Sood" userId="e2db75ea63d2bb3f" providerId="LiveId" clId="{540FC9E8-8425-4C57-B6D7-A2A63A28C955}" dt="2022-09-17T09:29:52.506" v="5332" actId="478"/>
          <ac:spMkLst>
            <pc:docMk/>
            <pc:sldMk cId="3689409412" sldId="275"/>
            <ac:spMk id="12" creationId="{547816E0-94C7-82B3-F00B-0A04355EB0FB}"/>
          </ac:spMkLst>
        </pc:spChg>
        <pc:grpChg chg="del">
          <ac:chgData name="Tanu Sood" userId="e2db75ea63d2bb3f" providerId="LiveId" clId="{540FC9E8-8425-4C57-B6D7-A2A63A28C955}" dt="2022-09-17T09:20:56.460" v="5167" actId="478"/>
          <ac:grpSpMkLst>
            <pc:docMk/>
            <pc:sldMk cId="3689409412" sldId="275"/>
            <ac:grpSpMk id="2" creationId="{00194ECE-C6C5-0DB9-6787-2971F1668D64}"/>
          </ac:grpSpMkLst>
        </pc:grpChg>
      </pc:sldChg>
      <pc:sldChg chg="addSp delSp modSp add mod ord">
        <pc:chgData name="Tanu Sood" userId="e2db75ea63d2bb3f" providerId="LiveId" clId="{540FC9E8-8425-4C57-B6D7-A2A63A28C955}" dt="2022-09-18T02:38:17.527" v="13413" actId="20577"/>
        <pc:sldMkLst>
          <pc:docMk/>
          <pc:sldMk cId="4280789637" sldId="276"/>
        </pc:sldMkLst>
        <pc:spChg chg="add mod">
          <ac:chgData name="Tanu Sood" userId="e2db75ea63d2bb3f" providerId="LiveId" clId="{540FC9E8-8425-4C57-B6D7-A2A63A28C955}" dt="2022-09-17T22:14:06.534" v="10631" actId="2711"/>
          <ac:spMkLst>
            <pc:docMk/>
            <pc:sldMk cId="4280789637" sldId="276"/>
            <ac:spMk id="2" creationId="{4B3DCF99-4807-2F21-1158-C2E750E92F00}"/>
          </ac:spMkLst>
        </pc:spChg>
        <pc:spChg chg="add del mod">
          <ac:chgData name="Tanu Sood" userId="e2db75ea63d2bb3f" providerId="LiveId" clId="{540FC9E8-8425-4C57-B6D7-A2A63A28C955}" dt="2022-09-17T09:23:09.795" v="5208" actId="478"/>
          <ac:spMkLst>
            <pc:docMk/>
            <pc:sldMk cId="4280789637" sldId="276"/>
            <ac:spMk id="4" creationId="{86D756E7-EA27-8068-560B-A4882165DDB6}"/>
          </ac:spMkLst>
        </pc:spChg>
        <pc:spChg chg="del">
          <ac:chgData name="Tanu Sood" userId="e2db75ea63d2bb3f" providerId="LiveId" clId="{540FC9E8-8425-4C57-B6D7-A2A63A28C955}" dt="2022-09-17T09:23:04.572" v="5207" actId="478"/>
          <ac:spMkLst>
            <pc:docMk/>
            <pc:sldMk cId="4280789637" sldId="276"/>
            <ac:spMk id="7" creationId="{00000000-0000-0000-0000-000000000000}"/>
          </ac:spMkLst>
        </pc:spChg>
        <pc:spChg chg="mod">
          <ac:chgData name="Tanu Sood" userId="e2db75ea63d2bb3f" providerId="LiveId" clId="{540FC9E8-8425-4C57-B6D7-A2A63A28C955}" dt="2022-09-17T22:07:07.682" v="10566" actId="207"/>
          <ac:spMkLst>
            <pc:docMk/>
            <pc:sldMk cId="4280789637" sldId="276"/>
            <ac:spMk id="9" creationId="{00000000-0000-0000-0000-000000000000}"/>
          </ac:spMkLst>
        </pc:spChg>
        <pc:spChg chg="mod">
          <ac:chgData name="Tanu Sood" userId="e2db75ea63d2bb3f" providerId="LiveId" clId="{540FC9E8-8425-4C57-B6D7-A2A63A28C955}" dt="2022-09-17T22:07:53.841" v="10572" actId="207"/>
          <ac:spMkLst>
            <pc:docMk/>
            <pc:sldMk cId="4280789637" sldId="276"/>
            <ac:spMk id="12" creationId="{00000000-0000-0000-0000-000000000000}"/>
          </ac:spMkLst>
        </pc:spChg>
        <pc:spChg chg="mod">
          <ac:chgData name="Tanu Sood" userId="e2db75ea63d2bb3f" providerId="LiveId" clId="{540FC9E8-8425-4C57-B6D7-A2A63A28C955}" dt="2022-09-17T22:09:07.683" v="10587" actId="207"/>
          <ac:spMkLst>
            <pc:docMk/>
            <pc:sldMk cId="4280789637" sldId="276"/>
            <ac:spMk id="15" creationId="{00000000-0000-0000-0000-000000000000}"/>
          </ac:spMkLst>
        </pc:spChg>
        <pc:spChg chg="mod">
          <ac:chgData name="Tanu Sood" userId="e2db75ea63d2bb3f" providerId="LiveId" clId="{540FC9E8-8425-4C57-B6D7-A2A63A28C955}" dt="2022-09-17T22:07:30.121" v="10569" actId="207"/>
          <ac:spMkLst>
            <pc:docMk/>
            <pc:sldMk cId="4280789637" sldId="276"/>
            <ac:spMk id="18" creationId="{00000000-0000-0000-0000-000000000000}"/>
          </ac:spMkLst>
        </pc:spChg>
        <pc:spChg chg="mod">
          <ac:chgData name="Tanu Sood" userId="e2db75ea63d2bb3f" providerId="LiveId" clId="{540FC9E8-8425-4C57-B6D7-A2A63A28C955}" dt="2022-09-17T22:08:49.724" v="10584" actId="207"/>
          <ac:spMkLst>
            <pc:docMk/>
            <pc:sldMk cId="4280789637" sldId="276"/>
            <ac:spMk id="21" creationId="{00000000-0000-0000-0000-000000000000}"/>
          </ac:spMkLst>
        </pc:spChg>
        <pc:spChg chg="mod">
          <ac:chgData name="Tanu Sood" userId="e2db75ea63d2bb3f" providerId="LiveId" clId="{540FC9E8-8425-4C57-B6D7-A2A63A28C955}" dt="2022-09-17T22:09:37.220" v="10590" actId="207"/>
          <ac:spMkLst>
            <pc:docMk/>
            <pc:sldMk cId="4280789637" sldId="276"/>
            <ac:spMk id="24" creationId="{00000000-0000-0000-0000-000000000000}"/>
          </ac:spMkLst>
        </pc:spChg>
        <pc:spChg chg="mod">
          <ac:chgData name="Tanu Sood" userId="e2db75ea63d2bb3f" providerId="LiveId" clId="{540FC9E8-8425-4C57-B6D7-A2A63A28C955}" dt="2022-09-18T02:38:17.527" v="13413" actId="20577"/>
          <ac:spMkLst>
            <pc:docMk/>
            <pc:sldMk cId="4280789637" sldId="276"/>
            <ac:spMk id="52" creationId="{00000000-0000-0000-0000-000000000000}"/>
          </ac:spMkLst>
        </pc:spChg>
        <pc:spChg chg="mod">
          <ac:chgData name="Tanu Sood" userId="e2db75ea63d2bb3f" providerId="LiveId" clId="{540FC9E8-8425-4C57-B6D7-A2A63A28C955}" dt="2022-09-17T22:10:29.094" v="10598" actId="207"/>
          <ac:spMkLst>
            <pc:docMk/>
            <pc:sldMk cId="4280789637" sldId="276"/>
            <ac:spMk id="55" creationId="{00000000-0000-0000-0000-000000000000}"/>
          </ac:spMkLst>
        </pc:spChg>
        <pc:picChg chg="del">
          <ac:chgData name="Tanu Sood" userId="e2db75ea63d2bb3f" providerId="LiveId" clId="{540FC9E8-8425-4C57-B6D7-A2A63A28C955}" dt="2022-09-17T09:23:51.391" v="5241" actId="478"/>
          <ac:picMkLst>
            <pc:docMk/>
            <pc:sldMk cId="4280789637" sldId="276"/>
            <ac:picMk id="59" creationId="{EA1389BC-912A-418F-9A9E-22250177A929}"/>
          </ac:picMkLst>
        </pc:picChg>
        <pc:picChg chg="del">
          <ac:chgData name="Tanu Sood" userId="e2db75ea63d2bb3f" providerId="LiveId" clId="{540FC9E8-8425-4C57-B6D7-A2A63A28C955}" dt="2022-09-17T09:23:53.997" v="5242" actId="478"/>
          <ac:picMkLst>
            <pc:docMk/>
            <pc:sldMk cId="4280789637" sldId="276"/>
            <ac:picMk id="63" creationId="{EA1389BC-912A-418F-9A9E-22250177A929}"/>
          </ac:picMkLst>
        </pc:picChg>
        <pc:picChg chg="del mod">
          <ac:chgData name="Tanu Sood" userId="e2db75ea63d2bb3f" providerId="LiveId" clId="{540FC9E8-8425-4C57-B6D7-A2A63A28C955}" dt="2022-09-17T09:23:58.088" v="5245" actId="478"/>
          <ac:picMkLst>
            <pc:docMk/>
            <pc:sldMk cId="4280789637" sldId="276"/>
            <ac:picMk id="64" creationId="{EA1389BC-912A-418F-9A9E-22250177A929}"/>
          </ac:picMkLst>
        </pc:picChg>
        <pc:picChg chg="del">
          <ac:chgData name="Tanu Sood" userId="e2db75ea63d2bb3f" providerId="LiveId" clId="{540FC9E8-8425-4C57-B6D7-A2A63A28C955}" dt="2022-09-17T09:24:06.371" v="5249" actId="478"/>
          <ac:picMkLst>
            <pc:docMk/>
            <pc:sldMk cId="4280789637" sldId="276"/>
            <ac:picMk id="94" creationId="{EA1389BC-912A-418F-9A9E-22250177A929}"/>
          </ac:picMkLst>
        </pc:picChg>
        <pc:picChg chg="del">
          <ac:chgData name="Tanu Sood" userId="e2db75ea63d2bb3f" providerId="LiveId" clId="{540FC9E8-8425-4C57-B6D7-A2A63A28C955}" dt="2022-09-17T09:24:04.241" v="5248" actId="478"/>
          <ac:picMkLst>
            <pc:docMk/>
            <pc:sldMk cId="4280789637" sldId="276"/>
            <ac:picMk id="95" creationId="{EA1389BC-912A-418F-9A9E-22250177A929}"/>
          </ac:picMkLst>
        </pc:picChg>
        <pc:picChg chg="del">
          <ac:chgData name="Tanu Sood" userId="e2db75ea63d2bb3f" providerId="LiveId" clId="{540FC9E8-8425-4C57-B6D7-A2A63A28C955}" dt="2022-09-17T09:24:00.552" v="5246" actId="478"/>
          <ac:picMkLst>
            <pc:docMk/>
            <pc:sldMk cId="4280789637" sldId="276"/>
            <ac:picMk id="97" creationId="{EA1389BC-912A-418F-9A9E-22250177A929}"/>
          </ac:picMkLst>
        </pc:picChg>
        <pc:picChg chg="del">
          <ac:chgData name="Tanu Sood" userId="e2db75ea63d2bb3f" providerId="LiveId" clId="{540FC9E8-8425-4C57-B6D7-A2A63A28C955}" dt="2022-09-17T09:23:56.198" v="5243" actId="478"/>
          <ac:picMkLst>
            <pc:docMk/>
            <pc:sldMk cId="4280789637" sldId="276"/>
            <ac:picMk id="98" creationId="{EA1389BC-912A-418F-9A9E-22250177A929}"/>
          </ac:picMkLst>
        </pc:picChg>
        <pc:picChg chg="del">
          <ac:chgData name="Tanu Sood" userId="e2db75ea63d2bb3f" providerId="LiveId" clId="{540FC9E8-8425-4C57-B6D7-A2A63A28C955}" dt="2022-09-17T09:24:02.443" v="5247" actId="478"/>
          <ac:picMkLst>
            <pc:docMk/>
            <pc:sldMk cId="4280789637" sldId="276"/>
            <ac:picMk id="99" creationId="{EA1389BC-912A-418F-9A9E-22250177A929}"/>
          </ac:picMkLst>
        </pc:picChg>
      </pc:sldChg>
      <pc:sldChg chg="add">
        <pc:chgData name="Tanu Sood" userId="e2db75ea63d2bb3f" providerId="LiveId" clId="{540FC9E8-8425-4C57-B6D7-A2A63A28C955}" dt="2022-09-17T10:40:29.351" v="7637" actId="2890"/>
        <pc:sldMkLst>
          <pc:docMk/>
          <pc:sldMk cId="1641517342" sldId="277"/>
        </pc:sldMkLst>
      </pc:sldChg>
      <pc:sldChg chg="add del">
        <pc:chgData name="Tanu Sood" userId="e2db75ea63d2bb3f" providerId="LiveId" clId="{540FC9E8-8425-4C57-B6D7-A2A63A28C955}" dt="2022-09-17T10:38:25.130" v="7548" actId="2890"/>
        <pc:sldMkLst>
          <pc:docMk/>
          <pc:sldMk cId="3097367761" sldId="277"/>
        </pc:sldMkLst>
      </pc:sldChg>
      <pc:sldChg chg="addSp delSp new mod">
        <pc:chgData name="Tanu Sood" userId="e2db75ea63d2bb3f" providerId="LiveId" clId="{540FC9E8-8425-4C57-B6D7-A2A63A28C955}" dt="2022-09-17T13:42:24.530" v="10503" actId="478"/>
        <pc:sldMkLst>
          <pc:docMk/>
          <pc:sldMk cId="2745340152" sldId="278"/>
        </pc:sldMkLst>
        <pc:spChg chg="del">
          <ac:chgData name="Tanu Sood" userId="e2db75ea63d2bb3f" providerId="LiveId" clId="{540FC9E8-8425-4C57-B6D7-A2A63A28C955}" dt="2022-09-17T12:41:36.092" v="9510" actId="478"/>
          <ac:spMkLst>
            <pc:docMk/>
            <pc:sldMk cId="2745340152" sldId="278"/>
            <ac:spMk id="2" creationId="{FACD5D13-3D2D-E727-031F-59483084BF5F}"/>
          </ac:spMkLst>
        </pc:spChg>
        <pc:spChg chg="del">
          <ac:chgData name="Tanu Sood" userId="e2db75ea63d2bb3f" providerId="LiveId" clId="{540FC9E8-8425-4C57-B6D7-A2A63A28C955}" dt="2022-09-17T12:41:30.532" v="9509" actId="478"/>
          <ac:spMkLst>
            <pc:docMk/>
            <pc:sldMk cId="2745340152" sldId="278"/>
            <ac:spMk id="3" creationId="{70D04400-A7C4-D3B7-923E-69E5ED2507AA}"/>
          </ac:spMkLst>
        </pc:spChg>
        <pc:spChg chg="del">
          <ac:chgData name="Tanu Sood" userId="e2db75ea63d2bb3f" providerId="LiveId" clId="{540FC9E8-8425-4C57-B6D7-A2A63A28C955}" dt="2022-09-17T12:41:42.592" v="9511" actId="478"/>
          <ac:spMkLst>
            <pc:docMk/>
            <pc:sldMk cId="2745340152" sldId="278"/>
            <ac:spMk id="4" creationId="{1F796C97-3798-4A72-A6FA-1E4882408138}"/>
          </ac:spMkLst>
        </pc:spChg>
        <pc:spChg chg="add del">
          <ac:chgData name="Tanu Sood" userId="e2db75ea63d2bb3f" providerId="LiveId" clId="{540FC9E8-8425-4C57-B6D7-A2A63A28C955}" dt="2022-09-17T13:42:24.530" v="10503" actId="478"/>
          <ac:spMkLst>
            <pc:docMk/>
            <pc:sldMk cId="2745340152" sldId="278"/>
            <ac:spMk id="6" creationId="{4B9902FB-6EE0-5FD0-1269-E87FD710645F}"/>
          </ac:spMkLst>
        </pc:spChg>
      </pc:sldChg>
      <pc:sldChg chg="addSp delSp modSp new del mod">
        <pc:chgData name="Tanu Sood" userId="e2db75ea63d2bb3f" providerId="LiveId" clId="{540FC9E8-8425-4C57-B6D7-A2A63A28C955}" dt="2022-09-18T14:06:05.755" v="14402" actId="2696"/>
        <pc:sldMkLst>
          <pc:docMk/>
          <pc:sldMk cId="802370954" sldId="279"/>
        </pc:sldMkLst>
        <pc:spChg chg="del">
          <ac:chgData name="Tanu Sood" userId="e2db75ea63d2bb3f" providerId="LiveId" clId="{540FC9E8-8425-4C57-B6D7-A2A63A28C955}" dt="2022-09-17T12:12:43.005" v="8881" actId="478"/>
          <ac:spMkLst>
            <pc:docMk/>
            <pc:sldMk cId="802370954" sldId="279"/>
            <ac:spMk id="2" creationId="{CEC1941B-E3C7-08BF-518E-DACB771CCD07}"/>
          </ac:spMkLst>
        </pc:spChg>
        <pc:spChg chg="del">
          <ac:chgData name="Tanu Sood" userId="e2db75ea63d2bb3f" providerId="LiveId" clId="{540FC9E8-8425-4C57-B6D7-A2A63A28C955}" dt="2022-09-17T12:12:49.511" v="8882" actId="478"/>
          <ac:spMkLst>
            <pc:docMk/>
            <pc:sldMk cId="802370954" sldId="279"/>
            <ac:spMk id="3" creationId="{56F158DD-DA7B-4B2D-5ABC-E9B114BD4734}"/>
          </ac:spMkLst>
        </pc:spChg>
        <pc:spChg chg="del">
          <ac:chgData name="Tanu Sood" userId="e2db75ea63d2bb3f" providerId="LiveId" clId="{540FC9E8-8425-4C57-B6D7-A2A63A28C955}" dt="2022-09-17T12:12:52.357" v="8883" actId="478"/>
          <ac:spMkLst>
            <pc:docMk/>
            <pc:sldMk cId="802370954" sldId="279"/>
            <ac:spMk id="4" creationId="{27250DFC-0E7D-A629-766A-66A75E6A1F19}"/>
          </ac:spMkLst>
        </pc:spChg>
        <pc:spChg chg="add mod">
          <ac:chgData name="Tanu Sood" userId="e2db75ea63d2bb3f" providerId="LiveId" clId="{540FC9E8-8425-4C57-B6D7-A2A63A28C955}" dt="2022-09-17T22:23:24.001" v="10664" actId="255"/>
          <ac:spMkLst>
            <pc:docMk/>
            <pc:sldMk cId="802370954" sldId="279"/>
            <ac:spMk id="6" creationId="{953CF19D-CD94-8A8F-5A6B-58CFAEF9D613}"/>
          </ac:spMkLst>
        </pc:spChg>
        <pc:picChg chg="add del mod">
          <ac:chgData name="Tanu Sood" userId="e2db75ea63d2bb3f" providerId="LiveId" clId="{540FC9E8-8425-4C57-B6D7-A2A63A28C955}" dt="2022-09-17T23:34:10.967" v="11355" actId="22"/>
          <ac:picMkLst>
            <pc:docMk/>
            <pc:sldMk cId="802370954" sldId="279"/>
            <ac:picMk id="3" creationId="{6E9C7D7D-A522-9F77-E31A-A1B2F7462EDC}"/>
          </ac:picMkLst>
        </pc:picChg>
        <pc:picChg chg="add mod">
          <ac:chgData name="Tanu Sood" userId="e2db75ea63d2bb3f" providerId="LiveId" clId="{540FC9E8-8425-4C57-B6D7-A2A63A28C955}" dt="2022-09-17T12:14:02.854" v="8895" actId="1076"/>
          <ac:picMkLst>
            <pc:docMk/>
            <pc:sldMk cId="802370954" sldId="279"/>
            <ac:picMk id="5" creationId="{005E6CA0-216A-BEAD-C744-F22C60637E74}"/>
          </ac:picMkLst>
        </pc:picChg>
      </pc:sldChg>
      <pc:sldChg chg="add">
        <pc:chgData name="Tanu Sood" userId="e2db75ea63d2bb3f" providerId="LiveId" clId="{540FC9E8-8425-4C57-B6D7-A2A63A28C955}" dt="2022-09-18T14:07:05.409" v="14406"/>
        <pc:sldMkLst>
          <pc:docMk/>
          <pc:sldMk cId="1110084410" sldId="279"/>
        </pc:sldMkLst>
      </pc:sldChg>
      <pc:sldChg chg="del ord">
        <pc:chgData name="Tanu Sood" userId="e2db75ea63d2bb3f" providerId="LiveId" clId="{540FC9E8-8425-4C57-B6D7-A2A63A28C955}" dt="2022-09-18T14:06:59.317" v="14405" actId="2696"/>
        <pc:sldMkLst>
          <pc:docMk/>
          <pc:sldMk cId="3580681545" sldId="279"/>
        </pc:sldMkLst>
      </pc:sldChg>
      <pc:sldChg chg="del ord">
        <pc:chgData name="Tanu Sood" userId="e2db75ea63d2bb3f" providerId="LiveId" clId="{540FC9E8-8425-4C57-B6D7-A2A63A28C955}" dt="2022-09-18T14:08:39.087" v="14407" actId="2696"/>
        <pc:sldMkLst>
          <pc:docMk/>
          <pc:sldMk cId="324360046" sldId="280"/>
        </pc:sldMkLst>
      </pc:sldChg>
      <pc:sldChg chg="addSp delSp modSp add del mod">
        <pc:chgData name="Tanu Sood" userId="e2db75ea63d2bb3f" providerId="LiveId" clId="{540FC9E8-8425-4C57-B6D7-A2A63A28C955}" dt="2022-09-18T14:06:05.755" v="14402" actId="2696"/>
        <pc:sldMkLst>
          <pc:docMk/>
          <pc:sldMk cId="2236603534" sldId="280"/>
        </pc:sldMkLst>
        <pc:spChg chg="del">
          <ac:chgData name="Tanu Sood" userId="e2db75ea63d2bb3f" providerId="LiveId" clId="{540FC9E8-8425-4C57-B6D7-A2A63A28C955}" dt="2022-09-17T12:06:46.464" v="8864" actId="478"/>
          <ac:spMkLst>
            <pc:docMk/>
            <pc:sldMk cId="2236603534" sldId="280"/>
            <ac:spMk id="3" creationId="{DBCA9411-E5CE-512A-AFE0-D391A3E146DA}"/>
          </ac:spMkLst>
        </pc:spChg>
        <pc:spChg chg="del mod">
          <ac:chgData name="Tanu Sood" userId="e2db75ea63d2bb3f" providerId="LiveId" clId="{540FC9E8-8425-4C57-B6D7-A2A63A28C955}" dt="2022-09-17T12:06:40.754" v="8862" actId="478"/>
          <ac:spMkLst>
            <pc:docMk/>
            <pc:sldMk cId="2236603534" sldId="280"/>
            <ac:spMk id="4" creationId="{9B7C3FB2-6B28-37DB-1B86-677EBCCB5EBC}"/>
          </ac:spMkLst>
        </pc:spChg>
        <pc:spChg chg="add del mod">
          <ac:chgData name="Tanu Sood" userId="e2db75ea63d2bb3f" providerId="LiveId" clId="{540FC9E8-8425-4C57-B6D7-A2A63A28C955}" dt="2022-09-17T12:06:43.333" v="8863" actId="478"/>
          <ac:spMkLst>
            <pc:docMk/>
            <pc:sldMk cId="2236603534" sldId="280"/>
            <ac:spMk id="5" creationId="{11673D05-2AD1-0942-555B-112881972897}"/>
          </ac:spMkLst>
        </pc:spChg>
        <pc:spChg chg="del">
          <ac:chgData name="Tanu Sood" userId="e2db75ea63d2bb3f" providerId="LiveId" clId="{540FC9E8-8425-4C57-B6D7-A2A63A28C955}" dt="2022-09-17T12:06:49.353" v="8865" actId="478"/>
          <ac:spMkLst>
            <pc:docMk/>
            <pc:sldMk cId="2236603534" sldId="280"/>
            <ac:spMk id="8" creationId="{7F8EF003-8701-4A10-A0AA-78F47DE9687C}"/>
          </ac:spMkLst>
        </pc:spChg>
        <pc:spChg chg="add mod">
          <ac:chgData name="Tanu Sood" userId="e2db75ea63d2bb3f" providerId="LiveId" clId="{540FC9E8-8425-4C57-B6D7-A2A63A28C955}" dt="2022-09-18T01:34:33.971" v="13384" actId="20577"/>
          <ac:spMkLst>
            <pc:docMk/>
            <pc:sldMk cId="2236603534" sldId="280"/>
            <ac:spMk id="13" creationId="{E74F15B3-E34D-D707-2876-7DD8CE6D3A48}"/>
          </ac:spMkLst>
        </pc:spChg>
        <pc:picChg chg="add mod">
          <ac:chgData name="Tanu Sood" userId="e2db75ea63d2bb3f" providerId="LiveId" clId="{540FC9E8-8425-4C57-B6D7-A2A63A28C955}" dt="2022-09-18T00:09:42.833" v="11671" actId="1076"/>
          <ac:picMkLst>
            <pc:docMk/>
            <pc:sldMk cId="2236603534" sldId="280"/>
            <ac:picMk id="3" creationId="{C55DC57C-F9DD-B9BA-EBA2-B68873915DC9}"/>
          </ac:picMkLst>
        </pc:picChg>
        <pc:picChg chg="add del mod">
          <ac:chgData name="Tanu Sood" userId="e2db75ea63d2bb3f" providerId="LiveId" clId="{540FC9E8-8425-4C57-B6D7-A2A63A28C955}" dt="2022-09-17T12:07:23.538" v="8869" actId="478"/>
          <ac:picMkLst>
            <pc:docMk/>
            <pc:sldMk cId="2236603534" sldId="280"/>
            <ac:picMk id="7" creationId="{80516848-21D2-F2AA-82B0-6B7FB1E5B398}"/>
          </ac:picMkLst>
        </pc:picChg>
        <pc:picChg chg="add del mod">
          <ac:chgData name="Tanu Sood" userId="e2db75ea63d2bb3f" providerId="LiveId" clId="{540FC9E8-8425-4C57-B6D7-A2A63A28C955}" dt="2022-09-17T12:12:35.968" v="8880" actId="21"/>
          <ac:picMkLst>
            <pc:docMk/>
            <pc:sldMk cId="2236603534" sldId="280"/>
            <ac:picMk id="10" creationId="{CAF93E77-2746-0549-CF32-00E0E93B8E5A}"/>
          </ac:picMkLst>
        </pc:picChg>
        <pc:picChg chg="add del mod">
          <ac:chgData name="Tanu Sood" userId="e2db75ea63d2bb3f" providerId="LiveId" clId="{540FC9E8-8425-4C57-B6D7-A2A63A28C955}" dt="2022-09-18T00:08:54.527" v="11661" actId="478"/>
          <ac:picMkLst>
            <pc:docMk/>
            <pc:sldMk cId="2236603534" sldId="280"/>
            <ac:picMk id="12" creationId="{ADFB941A-0F37-66AF-69AA-DDC1C867F2E1}"/>
          </ac:picMkLst>
        </pc:picChg>
      </pc:sldChg>
      <pc:sldChg chg="addSp delSp modSp add mod ord">
        <pc:chgData name="Tanu Sood" userId="e2db75ea63d2bb3f" providerId="LiveId" clId="{540FC9E8-8425-4C57-B6D7-A2A63A28C955}" dt="2022-09-18T03:01:40.057" v="13501" actId="20577"/>
        <pc:sldMkLst>
          <pc:docMk/>
          <pc:sldMk cId="1272470704" sldId="281"/>
        </pc:sldMkLst>
        <pc:spChg chg="add del">
          <ac:chgData name="Tanu Sood" userId="e2db75ea63d2bb3f" providerId="LiveId" clId="{540FC9E8-8425-4C57-B6D7-A2A63A28C955}" dt="2022-09-17T12:36:39.809" v="9306"/>
          <ac:spMkLst>
            <pc:docMk/>
            <pc:sldMk cId="1272470704" sldId="281"/>
            <ac:spMk id="2" creationId="{089F46A2-4734-310D-C737-A31BE29CC20A}"/>
          </ac:spMkLst>
        </pc:spChg>
        <pc:spChg chg="add del">
          <ac:chgData name="Tanu Sood" userId="e2db75ea63d2bb3f" providerId="LiveId" clId="{540FC9E8-8425-4C57-B6D7-A2A63A28C955}" dt="2022-09-17T11:13:54.101" v="8222"/>
          <ac:spMkLst>
            <pc:docMk/>
            <pc:sldMk cId="1272470704" sldId="281"/>
            <ac:spMk id="2" creationId="{2DC96C68-5AB9-1348-313E-5CA18742C854}"/>
          </ac:spMkLst>
        </pc:spChg>
        <pc:spChg chg="mod">
          <ac:chgData name="Tanu Sood" userId="e2db75ea63d2bb3f" providerId="LiveId" clId="{540FC9E8-8425-4C57-B6D7-A2A63A28C955}" dt="2022-09-18T03:01:40.057" v="13501" actId="20577"/>
          <ac:spMkLst>
            <pc:docMk/>
            <pc:sldMk cId="1272470704" sldId="281"/>
            <ac:spMk id="3" creationId="{5CFA47BF-5569-828E-2AC5-A31CF4D2DECC}"/>
          </ac:spMkLst>
        </pc:spChg>
        <pc:spChg chg="mod">
          <ac:chgData name="Tanu Sood" userId="e2db75ea63d2bb3f" providerId="LiveId" clId="{540FC9E8-8425-4C57-B6D7-A2A63A28C955}" dt="2022-09-18T02:57:38.623" v="13485" actId="207"/>
          <ac:spMkLst>
            <pc:docMk/>
            <pc:sldMk cId="1272470704" sldId="281"/>
            <ac:spMk id="4" creationId="{49CD23CB-21BE-E866-D01E-7AD1A37B9B86}"/>
          </ac:spMkLst>
        </pc:spChg>
        <pc:spChg chg="add del">
          <ac:chgData name="Tanu Sood" userId="e2db75ea63d2bb3f" providerId="LiveId" clId="{540FC9E8-8425-4C57-B6D7-A2A63A28C955}" dt="2022-09-17T11:14:20.398" v="8224"/>
          <ac:spMkLst>
            <pc:docMk/>
            <pc:sldMk cId="1272470704" sldId="281"/>
            <ac:spMk id="5" creationId="{8DF667CF-64F1-C498-401A-943C6EAC7925}"/>
          </ac:spMkLst>
        </pc:spChg>
        <pc:spChg chg="add del">
          <ac:chgData name="Tanu Sood" userId="e2db75ea63d2bb3f" providerId="LiveId" clId="{540FC9E8-8425-4C57-B6D7-A2A63A28C955}" dt="2022-09-17T12:36:51.888" v="9310"/>
          <ac:spMkLst>
            <pc:docMk/>
            <pc:sldMk cId="1272470704" sldId="281"/>
            <ac:spMk id="5" creationId="{E0CB16D3-4271-B1D9-4ED5-35ADE2F45CD7}"/>
          </ac:spMkLst>
        </pc:spChg>
      </pc:sldChg>
      <pc:sldChg chg="addSp delSp modSp add mod">
        <pc:chgData name="Tanu Sood" userId="e2db75ea63d2bb3f" providerId="LiveId" clId="{540FC9E8-8425-4C57-B6D7-A2A63A28C955}" dt="2022-09-18T12:35:01.096" v="13547" actId="478"/>
        <pc:sldMkLst>
          <pc:docMk/>
          <pc:sldMk cId="3270502942" sldId="282"/>
        </pc:sldMkLst>
        <pc:spChg chg="del">
          <ac:chgData name="Tanu Sood" userId="e2db75ea63d2bb3f" providerId="LiveId" clId="{540FC9E8-8425-4C57-B6D7-A2A63A28C955}" dt="2022-09-18T12:29:27.440" v="13506" actId="478"/>
          <ac:spMkLst>
            <pc:docMk/>
            <pc:sldMk cId="3270502942" sldId="282"/>
            <ac:spMk id="3" creationId="{DBCA9411-E5CE-512A-AFE0-D391A3E146DA}"/>
          </ac:spMkLst>
        </pc:spChg>
        <pc:spChg chg="del">
          <ac:chgData name="Tanu Sood" userId="e2db75ea63d2bb3f" providerId="LiveId" clId="{540FC9E8-8425-4C57-B6D7-A2A63A28C955}" dt="2022-09-18T12:29:32.201" v="13507" actId="478"/>
          <ac:spMkLst>
            <pc:docMk/>
            <pc:sldMk cId="3270502942" sldId="282"/>
            <ac:spMk id="4" creationId="{9B7C3FB2-6B28-37DB-1B86-677EBCCB5EBC}"/>
          </ac:spMkLst>
        </pc:spChg>
        <pc:spChg chg="add del mod">
          <ac:chgData name="Tanu Sood" userId="e2db75ea63d2bb3f" providerId="LiveId" clId="{540FC9E8-8425-4C57-B6D7-A2A63A28C955}" dt="2022-09-18T12:29:35.053" v="13508" actId="478"/>
          <ac:spMkLst>
            <pc:docMk/>
            <pc:sldMk cId="3270502942" sldId="282"/>
            <ac:spMk id="5" creationId="{BBDB9750-18EF-7A7B-3379-2B5FBBF3AB91}"/>
          </ac:spMkLst>
        </pc:spChg>
        <pc:spChg chg="del">
          <ac:chgData name="Tanu Sood" userId="e2db75ea63d2bb3f" providerId="LiveId" clId="{540FC9E8-8425-4C57-B6D7-A2A63A28C955}" dt="2022-09-18T12:29:24.441" v="13505" actId="478"/>
          <ac:spMkLst>
            <pc:docMk/>
            <pc:sldMk cId="3270502942" sldId="282"/>
            <ac:spMk id="8" creationId="{7F8EF003-8701-4A10-A0AA-78F47DE9687C}"/>
          </ac:spMkLst>
        </pc:spChg>
        <pc:spChg chg="mod">
          <ac:chgData name="Tanu Sood" userId="e2db75ea63d2bb3f" providerId="LiveId" clId="{540FC9E8-8425-4C57-B6D7-A2A63A28C955}" dt="2022-09-18T12:29:46.995" v="13509"/>
          <ac:spMkLst>
            <pc:docMk/>
            <pc:sldMk cId="3270502942" sldId="282"/>
            <ac:spMk id="12" creationId="{1A1501DC-5786-A1C6-86E9-E08CF621D71E}"/>
          </ac:spMkLst>
        </pc:spChg>
        <pc:spChg chg="mod">
          <ac:chgData name="Tanu Sood" userId="e2db75ea63d2bb3f" providerId="LiveId" clId="{540FC9E8-8425-4C57-B6D7-A2A63A28C955}" dt="2022-09-18T12:29:46.995" v="13509"/>
          <ac:spMkLst>
            <pc:docMk/>
            <pc:sldMk cId="3270502942" sldId="282"/>
            <ac:spMk id="13" creationId="{300F05A3-7624-A307-E8DB-0A87B27CFB90}"/>
          </ac:spMkLst>
        </pc:spChg>
        <pc:spChg chg="mod">
          <ac:chgData name="Tanu Sood" userId="e2db75ea63d2bb3f" providerId="LiveId" clId="{540FC9E8-8425-4C57-B6D7-A2A63A28C955}" dt="2022-09-18T12:29:46.995" v="13509"/>
          <ac:spMkLst>
            <pc:docMk/>
            <pc:sldMk cId="3270502942" sldId="282"/>
            <ac:spMk id="14" creationId="{E5EF81AB-080B-3399-FAE6-5006801FC50A}"/>
          </ac:spMkLst>
        </pc:spChg>
        <pc:spChg chg="mod">
          <ac:chgData name="Tanu Sood" userId="e2db75ea63d2bb3f" providerId="LiveId" clId="{540FC9E8-8425-4C57-B6D7-A2A63A28C955}" dt="2022-09-18T12:29:46.995" v="13509"/>
          <ac:spMkLst>
            <pc:docMk/>
            <pc:sldMk cId="3270502942" sldId="282"/>
            <ac:spMk id="15" creationId="{DBDF9743-61D4-81F7-FC2C-A12EDBC73777}"/>
          </ac:spMkLst>
        </pc:spChg>
        <pc:spChg chg="mod">
          <ac:chgData name="Tanu Sood" userId="e2db75ea63d2bb3f" providerId="LiveId" clId="{540FC9E8-8425-4C57-B6D7-A2A63A28C955}" dt="2022-09-18T12:29:46.995" v="13509"/>
          <ac:spMkLst>
            <pc:docMk/>
            <pc:sldMk cId="3270502942" sldId="282"/>
            <ac:spMk id="16" creationId="{F5AEC5D3-32E4-B6CD-846C-4E53309E3755}"/>
          </ac:spMkLst>
        </pc:spChg>
        <pc:spChg chg="mod">
          <ac:chgData name="Tanu Sood" userId="e2db75ea63d2bb3f" providerId="LiveId" clId="{540FC9E8-8425-4C57-B6D7-A2A63A28C955}" dt="2022-09-18T12:29:46.995" v="13509"/>
          <ac:spMkLst>
            <pc:docMk/>
            <pc:sldMk cId="3270502942" sldId="282"/>
            <ac:spMk id="17" creationId="{FAC5FC11-3E21-4F49-DC8F-05F0AAB2B6D2}"/>
          </ac:spMkLst>
        </pc:spChg>
        <pc:spChg chg="mod">
          <ac:chgData name="Tanu Sood" userId="e2db75ea63d2bb3f" providerId="LiveId" clId="{540FC9E8-8425-4C57-B6D7-A2A63A28C955}" dt="2022-09-18T12:29:46.995" v="13509"/>
          <ac:spMkLst>
            <pc:docMk/>
            <pc:sldMk cId="3270502942" sldId="282"/>
            <ac:spMk id="18" creationId="{1CF4F315-12D2-39A4-6C0C-7F15181F3454}"/>
          </ac:spMkLst>
        </pc:spChg>
        <pc:spChg chg="mod">
          <ac:chgData name="Tanu Sood" userId="e2db75ea63d2bb3f" providerId="LiveId" clId="{540FC9E8-8425-4C57-B6D7-A2A63A28C955}" dt="2022-09-18T12:29:46.995" v="13509"/>
          <ac:spMkLst>
            <pc:docMk/>
            <pc:sldMk cId="3270502942" sldId="282"/>
            <ac:spMk id="19" creationId="{23DA31D4-FDBF-B9E6-9A0A-BD37E1550BE1}"/>
          </ac:spMkLst>
        </pc:spChg>
        <pc:spChg chg="mod">
          <ac:chgData name="Tanu Sood" userId="e2db75ea63d2bb3f" providerId="LiveId" clId="{540FC9E8-8425-4C57-B6D7-A2A63A28C955}" dt="2022-09-18T12:29:46.995" v="13509"/>
          <ac:spMkLst>
            <pc:docMk/>
            <pc:sldMk cId="3270502942" sldId="282"/>
            <ac:spMk id="20" creationId="{A21A62A5-74E8-D13D-A0C6-063348DAB819}"/>
          </ac:spMkLst>
        </pc:spChg>
        <pc:spChg chg="mod">
          <ac:chgData name="Tanu Sood" userId="e2db75ea63d2bb3f" providerId="LiveId" clId="{540FC9E8-8425-4C57-B6D7-A2A63A28C955}" dt="2022-09-18T12:29:46.995" v="13509"/>
          <ac:spMkLst>
            <pc:docMk/>
            <pc:sldMk cId="3270502942" sldId="282"/>
            <ac:spMk id="21" creationId="{7D988699-05C2-37EB-B939-883018556464}"/>
          </ac:spMkLst>
        </pc:spChg>
        <pc:spChg chg="mod">
          <ac:chgData name="Tanu Sood" userId="e2db75ea63d2bb3f" providerId="LiveId" clId="{540FC9E8-8425-4C57-B6D7-A2A63A28C955}" dt="2022-09-18T12:29:46.995" v="13509"/>
          <ac:spMkLst>
            <pc:docMk/>
            <pc:sldMk cId="3270502942" sldId="282"/>
            <ac:spMk id="22" creationId="{7CFDE70B-B579-1C17-B58E-832A53AEB1B7}"/>
          </ac:spMkLst>
        </pc:spChg>
        <pc:spChg chg="mod">
          <ac:chgData name="Tanu Sood" userId="e2db75ea63d2bb3f" providerId="LiveId" clId="{540FC9E8-8425-4C57-B6D7-A2A63A28C955}" dt="2022-09-18T12:29:46.995" v="13509"/>
          <ac:spMkLst>
            <pc:docMk/>
            <pc:sldMk cId="3270502942" sldId="282"/>
            <ac:spMk id="23" creationId="{6F7D2E3B-6BF3-94ED-E5D6-4C89C17FFCE4}"/>
          </ac:spMkLst>
        </pc:spChg>
        <pc:spChg chg="mod">
          <ac:chgData name="Tanu Sood" userId="e2db75ea63d2bb3f" providerId="LiveId" clId="{540FC9E8-8425-4C57-B6D7-A2A63A28C955}" dt="2022-09-18T12:29:46.995" v="13509"/>
          <ac:spMkLst>
            <pc:docMk/>
            <pc:sldMk cId="3270502942" sldId="282"/>
            <ac:spMk id="24" creationId="{B939F4E7-F67C-C811-6E30-32F426602AAC}"/>
          </ac:spMkLst>
        </pc:spChg>
        <pc:spChg chg="add del mod">
          <ac:chgData name="Tanu Sood" userId="e2db75ea63d2bb3f" providerId="LiveId" clId="{540FC9E8-8425-4C57-B6D7-A2A63A28C955}" dt="2022-09-18T12:35:01.096" v="13547" actId="478"/>
          <ac:spMkLst>
            <pc:docMk/>
            <pc:sldMk cId="3270502942" sldId="282"/>
            <ac:spMk id="25" creationId="{E06A22DF-F131-C2ED-F589-BA5AA291ED41}"/>
          </ac:spMkLst>
        </pc:spChg>
        <pc:spChg chg="mod">
          <ac:chgData name="Tanu Sood" userId="e2db75ea63d2bb3f" providerId="LiveId" clId="{540FC9E8-8425-4C57-B6D7-A2A63A28C955}" dt="2022-09-18T12:29:46.995" v="13509"/>
          <ac:spMkLst>
            <pc:docMk/>
            <pc:sldMk cId="3270502942" sldId="282"/>
            <ac:spMk id="26" creationId="{EC06F051-90EE-536A-14AE-CC3C49BD0194}"/>
          </ac:spMkLst>
        </pc:spChg>
        <pc:spChg chg="mod">
          <ac:chgData name="Tanu Sood" userId="e2db75ea63d2bb3f" providerId="LiveId" clId="{540FC9E8-8425-4C57-B6D7-A2A63A28C955}" dt="2022-09-18T12:29:46.995" v="13509"/>
          <ac:spMkLst>
            <pc:docMk/>
            <pc:sldMk cId="3270502942" sldId="282"/>
            <ac:spMk id="27" creationId="{244B5CCE-4E49-38EF-3EE9-855F41A582FD}"/>
          </ac:spMkLst>
        </pc:spChg>
        <pc:spChg chg="mod">
          <ac:chgData name="Tanu Sood" userId="e2db75ea63d2bb3f" providerId="LiveId" clId="{540FC9E8-8425-4C57-B6D7-A2A63A28C955}" dt="2022-09-18T12:29:46.995" v="13509"/>
          <ac:spMkLst>
            <pc:docMk/>
            <pc:sldMk cId="3270502942" sldId="282"/>
            <ac:spMk id="28" creationId="{3DB719D7-39FC-6FA4-6A2F-76E1BD974422}"/>
          </ac:spMkLst>
        </pc:spChg>
        <pc:spChg chg="mod">
          <ac:chgData name="Tanu Sood" userId="e2db75ea63d2bb3f" providerId="LiveId" clId="{540FC9E8-8425-4C57-B6D7-A2A63A28C955}" dt="2022-09-18T12:29:46.995" v="13509"/>
          <ac:spMkLst>
            <pc:docMk/>
            <pc:sldMk cId="3270502942" sldId="282"/>
            <ac:spMk id="29" creationId="{8CB11162-B1B0-21A3-F5F5-9E55505B35B5}"/>
          </ac:spMkLst>
        </pc:spChg>
        <pc:spChg chg="mod">
          <ac:chgData name="Tanu Sood" userId="e2db75ea63d2bb3f" providerId="LiveId" clId="{540FC9E8-8425-4C57-B6D7-A2A63A28C955}" dt="2022-09-18T12:29:46.995" v="13509"/>
          <ac:spMkLst>
            <pc:docMk/>
            <pc:sldMk cId="3270502942" sldId="282"/>
            <ac:spMk id="30" creationId="{FA9863E7-7469-2A8F-C2E4-9B40E23F1BDF}"/>
          </ac:spMkLst>
        </pc:spChg>
        <pc:spChg chg="mod">
          <ac:chgData name="Tanu Sood" userId="e2db75ea63d2bb3f" providerId="LiveId" clId="{540FC9E8-8425-4C57-B6D7-A2A63A28C955}" dt="2022-09-18T12:29:46.995" v="13509"/>
          <ac:spMkLst>
            <pc:docMk/>
            <pc:sldMk cId="3270502942" sldId="282"/>
            <ac:spMk id="31" creationId="{7C83BA88-40AE-4B59-C758-F7C0294F4142}"/>
          </ac:spMkLst>
        </pc:spChg>
        <pc:spChg chg="mod">
          <ac:chgData name="Tanu Sood" userId="e2db75ea63d2bb3f" providerId="LiveId" clId="{540FC9E8-8425-4C57-B6D7-A2A63A28C955}" dt="2022-09-18T12:29:46.995" v="13509"/>
          <ac:spMkLst>
            <pc:docMk/>
            <pc:sldMk cId="3270502942" sldId="282"/>
            <ac:spMk id="32" creationId="{513B3C1C-377A-7FCB-CEDF-ABDE6F616C6D}"/>
          </ac:spMkLst>
        </pc:spChg>
        <pc:spChg chg="mod">
          <ac:chgData name="Tanu Sood" userId="e2db75ea63d2bb3f" providerId="LiveId" clId="{540FC9E8-8425-4C57-B6D7-A2A63A28C955}" dt="2022-09-18T12:29:46.995" v="13509"/>
          <ac:spMkLst>
            <pc:docMk/>
            <pc:sldMk cId="3270502942" sldId="282"/>
            <ac:spMk id="33" creationId="{32C38326-6A2A-8DFC-B3F3-0317B1210E22}"/>
          </ac:spMkLst>
        </pc:spChg>
        <pc:spChg chg="mod">
          <ac:chgData name="Tanu Sood" userId="e2db75ea63d2bb3f" providerId="LiveId" clId="{540FC9E8-8425-4C57-B6D7-A2A63A28C955}" dt="2022-09-18T12:34:31.822" v="13543" actId="20577"/>
          <ac:spMkLst>
            <pc:docMk/>
            <pc:sldMk cId="3270502942" sldId="282"/>
            <ac:spMk id="34" creationId="{1215391F-6081-D443-1A8C-9422DEC4C541}"/>
          </ac:spMkLst>
        </pc:spChg>
        <pc:spChg chg="mod">
          <ac:chgData name="Tanu Sood" userId="e2db75ea63d2bb3f" providerId="LiveId" clId="{540FC9E8-8425-4C57-B6D7-A2A63A28C955}" dt="2022-09-18T12:31:16.295" v="13522" actId="20577"/>
          <ac:spMkLst>
            <pc:docMk/>
            <pc:sldMk cId="3270502942" sldId="282"/>
            <ac:spMk id="35" creationId="{84EA5A98-A479-46CF-097D-AA30C1C7DF79}"/>
          </ac:spMkLst>
        </pc:spChg>
        <pc:grpChg chg="add del mod">
          <ac:chgData name="Tanu Sood" userId="e2db75ea63d2bb3f" providerId="LiveId" clId="{540FC9E8-8425-4C57-B6D7-A2A63A28C955}" dt="2022-09-18T12:34:59.111" v="13546" actId="478"/>
          <ac:grpSpMkLst>
            <pc:docMk/>
            <pc:sldMk cId="3270502942" sldId="282"/>
            <ac:grpSpMk id="6" creationId="{AEA64D1C-09AC-095F-F665-1AAC907210BC}"/>
          </ac:grpSpMkLst>
        </pc:grpChg>
        <pc:grpChg chg="mod">
          <ac:chgData name="Tanu Sood" userId="e2db75ea63d2bb3f" providerId="LiveId" clId="{540FC9E8-8425-4C57-B6D7-A2A63A28C955}" dt="2022-09-18T12:29:46.995" v="13509"/>
          <ac:grpSpMkLst>
            <pc:docMk/>
            <pc:sldMk cId="3270502942" sldId="282"/>
            <ac:grpSpMk id="7" creationId="{B5250909-01EA-D25F-88CD-1540D2ED4E3B}"/>
          </ac:grpSpMkLst>
        </pc:grpChg>
        <pc:grpChg chg="mod">
          <ac:chgData name="Tanu Sood" userId="e2db75ea63d2bb3f" providerId="LiveId" clId="{540FC9E8-8425-4C57-B6D7-A2A63A28C955}" dt="2022-09-18T12:29:46.995" v="13509"/>
          <ac:grpSpMkLst>
            <pc:docMk/>
            <pc:sldMk cId="3270502942" sldId="282"/>
            <ac:grpSpMk id="9" creationId="{B3C65CC5-B154-6078-7838-42E3A8DD15ED}"/>
          </ac:grpSpMkLst>
        </pc:grpChg>
        <pc:grpChg chg="mod">
          <ac:chgData name="Tanu Sood" userId="e2db75ea63d2bb3f" providerId="LiveId" clId="{540FC9E8-8425-4C57-B6D7-A2A63A28C955}" dt="2022-09-18T12:29:46.995" v="13509"/>
          <ac:grpSpMkLst>
            <pc:docMk/>
            <pc:sldMk cId="3270502942" sldId="282"/>
            <ac:grpSpMk id="10" creationId="{DC7046FF-069A-C372-A898-D7FAE940988D}"/>
          </ac:grpSpMkLst>
        </pc:grpChg>
        <pc:grpChg chg="mod">
          <ac:chgData name="Tanu Sood" userId="e2db75ea63d2bb3f" providerId="LiveId" clId="{540FC9E8-8425-4C57-B6D7-A2A63A28C955}" dt="2022-09-18T12:29:46.995" v="13509"/>
          <ac:grpSpMkLst>
            <pc:docMk/>
            <pc:sldMk cId="3270502942" sldId="282"/>
            <ac:grpSpMk id="11" creationId="{A47A5183-8864-B86A-A21C-CD9F17EFC0C6}"/>
          </ac:grpSpMkLst>
        </pc:grpChg>
      </pc:sldChg>
      <pc:sldChg chg="addSp delSp modSp add mod">
        <pc:chgData name="Tanu Sood" userId="e2db75ea63d2bb3f" providerId="LiveId" clId="{540FC9E8-8425-4C57-B6D7-A2A63A28C955}" dt="2022-09-18T02:45:39.836" v="13434" actId="207"/>
        <pc:sldMkLst>
          <pc:docMk/>
          <pc:sldMk cId="2429141811" sldId="283"/>
        </pc:sldMkLst>
        <pc:spChg chg="add del">
          <ac:chgData name="Tanu Sood" userId="e2db75ea63d2bb3f" providerId="LiveId" clId="{540FC9E8-8425-4C57-B6D7-A2A63A28C955}" dt="2022-09-17T11:26:31.981" v="8501"/>
          <ac:spMkLst>
            <pc:docMk/>
            <pc:sldMk cId="2429141811" sldId="283"/>
            <ac:spMk id="2" creationId="{A0084F31-4A07-CA3B-112F-6B7193C58140}"/>
          </ac:spMkLst>
        </pc:spChg>
        <pc:spChg chg="mod">
          <ac:chgData name="Tanu Sood" userId="e2db75ea63d2bb3f" providerId="LiveId" clId="{540FC9E8-8425-4C57-B6D7-A2A63A28C955}" dt="2022-09-18T02:45:39.836" v="13434" actId="207"/>
          <ac:spMkLst>
            <pc:docMk/>
            <pc:sldMk cId="2429141811" sldId="283"/>
            <ac:spMk id="3" creationId="{5CFA47BF-5569-828E-2AC5-A31CF4D2DECC}"/>
          </ac:spMkLst>
        </pc:spChg>
        <pc:spChg chg="mod">
          <ac:chgData name="Tanu Sood" userId="e2db75ea63d2bb3f" providerId="LiveId" clId="{540FC9E8-8425-4C57-B6D7-A2A63A28C955}" dt="2022-09-17T22:20:16.282" v="10649" actId="20577"/>
          <ac:spMkLst>
            <pc:docMk/>
            <pc:sldMk cId="2429141811" sldId="283"/>
            <ac:spMk id="4" creationId="{49CD23CB-21BE-E866-D01E-7AD1A37B9B86}"/>
          </ac:spMkLst>
        </pc:spChg>
        <pc:spChg chg="add del">
          <ac:chgData name="Tanu Sood" userId="e2db75ea63d2bb3f" providerId="LiveId" clId="{540FC9E8-8425-4C57-B6D7-A2A63A28C955}" dt="2022-09-17T11:32:53.143" v="8781"/>
          <ac:spMkLst>
            <pc:docMk/>
            <pc:sldMk cId="2429141811" sldId="283"/>
            <ac:spMk id="5" creationId="{524BE1B7-B6FD-59B5-90F5-31D621BB66BC}"/>
          </ac:spMkLst>
        </pc:spChg>
        <pc:spChg chg="add del">
          <ac:chgData name="Tanu Sood" userId="e2db75ea63d2bb3f" providerId="LiveId" clId="{540FC9E8-8425-4C57-B6D7-A2A63A28C955}" dt="2022-09-17T11:33:00.370" v="8786"/>
          <ac:spMkLst>
            <pc:docMk/>
            <pc:sldMk cId="2429141811" sldId="283"/>
            <ac:spMk id="6" creationId="{65CD7E32-5606-30EA-3E74-9A9610D879B4}"/>
          </ac:spMkLst>
        </pc:spChg>
      </pc:sldChg>
      <pc:sldChg chg="delSp add del mod">
        <pc:chgData name="Tanu Sood" userId="e2db75ea63d2bb3f" providerId="LiveId" clId="{540FC9E8-8425-4C57-B6D7-A2A63A28C955}" dt="2022-09-17T22:29:39.954" v="10671" actId="2696"/>
        <pc:sldMkLst>
          <pc:docMk/>
          <pc:sldMk cId="738884651" sldId="284"/>
        </pc:sldMkLst>
        <pc:spChg chg="del">
          <ac:chgData name="Tanu Sood" userId="e2db75ea63d2bb3f" providerId="LiveId" clId="{540FC9E8-8425-4C57-B6D7-A2A63A28C955}" dt="2022-09-17T13:23:40.799" v="10487" actId="478"/>
          <ac:spMkLst>
            <pc:docMk/>
            <pc:sldMk cId="738884651" sldId="284"/>
            <ac:spMk id="33" creationId="{00000000-0000-0000-0000-000000000000}"/>
          </ac:spMkLst>
        </pc:spChg>
        <pc:spChg chg="del">
          <ac:chgData name="Tanu Sood" userId="e2db75ea63d2bb3f" providerId="LiveId" clId="{540FC9E8-8425-4C57-B6D7-A2A63A28C955}" dt="2022-09-17T13:23:26.866" v="10484" actId="478"/>
          <ac:spMkLst>
            <pc:docMk/>
            <pc:sldMk cId="738884651" sldId="284"/>
            <ac:spMk id="34" creationId="{00000000-0000-0000-0000-000000000000}"/>
          </ac:spMkLst>
        </pc:spChg>
        <pc:grpChg chg="del">
          <ac:chgData name="Tanu Sood" userId="e2db75ea63d2bb3f" providerId="LiveId" clId="{540FC9E8-8425-4C57-B6D7-A2A63A28C955}" dt="2022-09-17T13:23:32.175" v="10485" actId="478"/>
          <ac:grpSpMkLst>
            <pc:docMk/>
            <pc:sldMk cId="738884651" sldId="284"/>
            <ac:grpSpMk id="35" creationId="{00000000-0000-0000-0000-000000000000}"/>
          </ac:grpSpMkLst>
        </pc:grpChg>
        <pc:grpChg chg="del">
          <ac:chgData name="Tanu Sood" userId="e2db75ea63d2bb3f" providerId="LiveId" clId="{540FC9E8-8425-4C57-B6D7-A2A63A28C955}" dt="2022-09-17T13:23:36.383" v="10486" actId="478"/>
          <ac:grpSpMkLst>
            <pc:docMk/>
            <pc:sldMk cId="738884651" sldId="284"/>
            <ac:grpSpMk id="48" creationId="{00000000-0000-0000-0000-000000000000}"/>
          </ac:grpSpMkLst>
        </pc:grpChg>
      </pc:sldChg>
      <pc:sldChg chg="add del">
        <pc:chgData name="Tanu Sood" userId="e2db75ea63d2bb3f" providerId="LiveId" clId="{540FC9E8-8425-4C57-B6D7-A2A63A28C955}" dt="2022-09-17T12:43:56.272" v="9514"/>
        <pc:sldMkLst>
          <pc:docMk/>
          <pc:sldMk cId="2134626566" sldId="284"/>
        </pc:sldMkLst>
      </pc:sldChg>
      <pc:sldChg chg="modSp add del mod ord">
        <pc:chgData name="Tanu Sood" userId="e2db75ea63d2bb3f" providerId="LiveId" clId="{540FC9E8-8425-4C57-B6D7-A2A63A28C955}" dt="2022-09-18T14:12:54.422" v="14411" actId="2696"/>
        <pc:sldMkLst>
          <pc:docMk/>
          <pc:sldMk cId="3385329791" sldId="284"/>
        </pc:sldMkLst>
        <pc:spChg chg="mod">
          <ac:chgData name="Tanu Sood" userId="e2db75ea63d2bb3f" providerId="LiveId" clId="{540FC9E8-8425-4C57-B6D7-A2A63A28C955}" dt="2022-09-18T14:05:09.101" v="14378" actId="20577"/>
          <ac:spMkLst>
            <pc:docMk/>
            <pc:sldMk cId="3385329791" sldId="284"/>
            <ac:spMk id="2" creationId="{00000000-0000-0000-0000-000000000000}"/>
          </ac:spMkLst>
        </pc:spChg>
      </pc:sldChg>
      <pc:sldChg chg="modSp add mod">
        <pc:chgData name="Tanu Sood" userId="e2db75ea63d2bb3f" providerId="LiveId" clId="{540FC9E8-8425-4C57-B6D7-A2A63A28C955}" dt="2022-09-17T22:29:28.042" v="10670" actId="255"/>
        <pc:sldMkLst>
          <pc:docMk/>
          <pc:sldMk cId="2214257510" sldId="285"/>
        </pc:sldMkLst>
        <pc:spChg chg="mod">
          <ac:chgData name="Tanu Sood" userId="e2db75ea63d2bb3f" providerId="LiveId" clId="{540FC9E8-8425-4C57-B6D7-A2A63A28C955}" dt="2022-09-17T13:25:16.035" v="10493" actId="6549"/>
          <ac:spMkLst>
            <pc:docMk/>
            <pc:sldMk cId="2214257510" sldId="285"/>
            <ac:spMk id="2" creationId="{E0B327C7-733B-EFE2-4563-CB49244A6350}"/>
          </ac:spMkLst>
        </pc:spChg>
        <pc:spChg chg="mod">
          <ac:chgData name="Tanu Sood" userId="e2db75ea63d2bb3f" providerId="LiveId" clId="{540FC9E8-8425-4C57-B6D7-A2A63A28C955}" dt="2022-09-17T22:29:28.042" v="10670" actId="255"/>
          <ac:spMkLst>
            <pc:docMk/>
            <pc:sldMk cId="2214257510" sldId="285"/>
            <ac:spMk id="11" creationId="{00000000-0000-0000-0000-000000000000}"/>
          </ac:spMkLst>
        </pc:spChg>
        <pc:spChg chg="mod">
          <ac:chgData name="Tanu Sood" userId="e2db75ea63d2bb3f" providerId="LiveId" clId="{540FC9E8-8425-4C57-B6D7-A2A63A28C955}" dt="2022-09-17T13:25:32.119" v="10499" actId="20577"/>
          <ac:spMkLst>
            <pc:docMk/>
            <pc:sldMk cId="2214257510" sldId="285"/>
            <ac:spMk id="13" creationId="{00000000-0000-0000-0000-000000000000}"/>
          </ac:spMkLst>
        </pc:spChg>
        <pc:spChg chg="mod">
          <ac:chgData name="Tanu Sood" userId="e2db75ea63d2bb3f" providerId="LiveId" clId="{540FC9E8-8425-4C57-B6D7-A2A63A28C955}" dt="2022-09-17T13:25:20.523" v="10494" actId="6549"/>
          <ac:spMkLst>
            <pc:docMk/>
            <pc:sldMk cId="2214257510" sldId="285"/>
            <ac:spMk id="22" creationId="{00000000-0000-0000-0000-000000000000}"/>
          </ac:spMkLst>
        </pc:spChg>
        <pc:spChg chg="mod">
          <ac:chgData name="Tanu Sood" userId="e2db75ea63d2bb3f" providerId="LiveId" clId="{540FC9E8-8425-4C57-B6D7-A2A63A28C955}" dt="2022-09-17T13:25:36.140" v="10500" actId="6549"/>
          <ac:spMkLst>
            <pc:docMk/>
            <pc:sldMk cId="2214257510" sldId="285"/>
            <ac:spMk id="23" creationId="{00000000-0000-0000-0000-000000000000}"/>
          </ac:spMkLst>
        </pc:spChg>
        <pc:spChg chg="mod">
          <ac:chgData name="Tanu Sood" userId="e2db75ea63d2bb3f" providerId="LiveId" clId="{540FC9E8-8425-4C57-B6D7-A2A63A28C955}" dt="2022-09-17T13:25:24.062" v="10495" actId="6549"/>
          <ac:spMkLst>
            <pc:docMk/>
            <pc:sldMk cId="2214257510" sldId="285"/>
            <ac:spMk id="28" creationId="{00000000-0000-0000-0000-000000000000}"/>
          </ac:spMkLst>
        </pc:spChg>
        <pc:spChg chg="mod">
          <ac:chgData name="Tanu Sood" userId="e2db75ea63d2bb3f" providerId="LiveId" clId="{540FC9E8-8425-4C57-B6D7-A2A63A28C955}" dt="2022-09-17T13:25:40.657" v="10501" actId="6549"/>
          <ac:spMkLst>
            <pc:docMk/>
            <pc:sldMk cId="2214257510" sldId="285"/>
            <ac:spMk id="29" creationId="{00000000-0000-0000-0000-000000000000}"/>
          </ac:spMkLst>
        </pc:spChg>
        <pc:spChg chg="mod">
          <ac:chgData name="Tanu Sood" userId="e2db75ea63d2bb3f" providerId="LiveId" clId="{540FC9E8-8425-4C57-B6D7-A2A63A28C955}" dt="2022-09-17T13:25:27.045" v="10496" actId="6549"/>
          <ac:spMkLst>
            <pc:docMk/>
            <pc:sldMk cId="2214257510" sldId="285"/>
            <ac:spMk id="33" creationId="{00000000-0000-0000-0000-000000000000}"/>
          </ac:spMkLst>
        </pc:spChg>
        <pc:spChg chg="mod">
          <ac:chgData name="Tanu Sood" userId="e2db75ea63d2bb3f" providerId="LiveId" clId="{540FC9E8-8425-4C57-B6D7-A2A63A28C955}" dt="2022-09-17T13:25:44.382" v="10502" actId="6549"/>
          <ac:spMkLst>
            <pc:docMk/>
            <pc:sldMk cId="2214257510" sldId="285"/>
            <ac:spMk id="34" creationId="{00000000-0000-0000-0000-000000000000}"/>
          </ac:spMkLst>
        </pc:spChg>
      </pc:sldChg>
      <pc:sldChg chg="addSp delSp modSp new del mod ord chgLayout">
        <pc:chgData name="Tanu Sood" userId="e2db75ea63d2bb3f" providerId="LiveId" clId="{540FC9E8-8425-4C57-B6D7-A2A63A28C955}" dt="2022-09-18T03:47:28.403" v="13503" actId="2696"/>
        <pc:sldMkLst>
          <pc:docMk/>
          <pc:sldMk cId="2682844402" sldId="286"/>
        </pc:sldMkLst>
        <pc:spChg chg="del">
          <ac:chgData name="Tanu Sood" userId="e2db75ea63d2bb3f" providerId="LiveId" clId="{540FC9E8-8425-4C57-B6D7-A2A63A28C955}" dt="2022-09-18T01:40:08.516" v="13402" actId="478"/>
          <ac:spMkLst>
            <pc:docMk/>
            <pc:sldMk cId="2682844402" sldId="286"/>
            <ac:spMk id="2" creationId="{9514E0C6-37B5-7B8B-6633-A5A37E29F602}"/>
          </ac:spMkLst>
        </pc:spChg>
        <pc:spChg chg="add del mod">
          <ac:chgData name="Tanu Sood" userId="e2db75ea63d2bb3f" providerId="LiveId" clId="{540FC9E8-8425-4C57-B6D7-A2A63A28C955}" dt="2022-09-18T02:50:01.546" v="13455" actId="700"/>
          <ac:spMkLst>
            <pc:docMk/>
            <pc:sldMk cId="2682844402" sldId="286"/>
            <ac:spMk id="2" creationId="{9CBB05EB-844A-F5C1-F97F-5995FA09AE2D}"/>
          </ac:spMkLst>
        </pc:spChg>
        <pc:spChg chg="del">
          <ac:chgData name="Tanu Sood" userId="e2db75ea63d2bb3f" providerId="LiveId" clId="{540FC9E8-8425-4C57-B6D7-A2A63A28C955}" dt="2022-09-18T01:40:12.277" v="13403" actId="478"/>
          <ac:spMkLst>
            <pc:docMk/>
            <pc:sldMk cId="2682844402" sldId="286"/>
            <ac:spMk id="3" creationId="{17D5C6E2-94EF-1186-7B48-F2347D703F82}"/>
          </ac:spMkLst>
        </pc:spChg>
        <pc:spChg chg="add del mod">
          <ac:chgData name="Tanu Sood" userId="e2db75ea63d2bb3f" providerId="LiveId" clId="{540FC9E8-8425-4C57-B6D7-A2A63A28C955}" dt="2022-09-18T02:50:01.546" v="13455" actId="700"/>
          <ac:spMkLst>
            <pc:docMk/>
            <pc:sldMk cId="2682844402" sldId="286"/>
            <ac:spMk id="3" creationId="{B6E43285-D707-5605-3C02-B0C72449D767}"/>
          </ac:spMkLst>
        </pc:spChg>
        <pc:spChg chg="del">
          <ac:chgData name="Tanu Sood" userId="e2db75ea63d2bb3f" providerId="LiveId" clId="{540FC9E8-8425-4C57-B6D7-A2A63A28C955}" dt="2022-09-18T01:40:15.971" v="13404" actId="478"/>
          <ac:spMkLst>
            <pc:docMk/>
            <pc:sldMk cId="2682844402" sldId="286"/>
            <ac:spMk id="4" creationId="{359CD8E5-9412-1553-3E49-7A64DE85615B}"/>
          </ac:spMkLst>
        </pc:spChg>
        <pc:spChg chg="add del mod">
          <ac:chgData name="Tanu Sood" userId="e2db75ea63d2bb3f" providerId="LiveId" clId="{540FC9E8-8425-4C57-B6D7-A2A63A28C955}" dt="2022-09-18T02:50:01.546" v="13455" actId="700"/>
          <ac:spMkLst>
            <pc:docMk/>
            <pc:sldMk cId="2682844402" sldId="286"/>
            <ac:spMk id="4" creationId="{9060716C-1752-D5EF-06E7-99FE67535749}"/>
          </ac:spMkLst>
        </pc:spChg>
      </pc:sldChg>
      <pc:sldChg chg="modSp add mod ord">
        <pc:chgData name="Tanu Sood" userId="e2db75ea63d2bb3f" providerId="LiveId" clId="{540FC9E8-8425-4C57-B6D7-A2A63A28C955}" dt="2022-09-17T23:12:25.032" v="11339" actId="20577"/>
        <pc:sldMkLst>
          <pc:docMk/>
          <pc:sldMk cId="1983333148" sldId="287"/>
        </pc:sldMkLst>
        <pc:spChg chg="mod">
          <ac:chgData name="Tanu Sood" userId="e2db75ea63d2bb3f" providerId="LiveId" clId="{540FC9E8-8425-4C57-B6D7-A2A63A28C955}" dt="2022-09-17T23:07:50.510" v="11143" actId="20577"/>
          <ac:spMkLst>
            <pc:docMk/>
            <pc:sldMk cId="1983333148" sldId="287"/>
            <ac:spMk id="4" creationId="{49CD23CB-21BE-E866-D01E-7AD1A37B9B86}"/>
          </ac:spMkLst>
        </pc:spChg>
        <pc:spChg chg="mod">
          <ac:chgData name="Tanu Sood" userId="e2db75ea63d2bb3f" providerId="LiveId" clId="{540FC9E8-8425-4C57-B6D7-A2A63A28C955}" dt="2022-09-17T23:12:25.032" v="11339" actId="20577"/>
          <ac:spMkLst>
            <pc:docMk/>
            <pc:sldMk cId="1983333148" sldId="287"/>
            <ac:spMk id="8" creationId="{3C75F09A-3A02-A695-C96C-CD9496DA5CEC}"/>
          </ac:spMkLst>
        </pc:spChg>
      </pc:sldChg>
      <pc:sldChg chg="addSp delSp modSp add del mod">
        <pc:chgData name="Tanu Sood" userId="e2db75ea63d2bb3f" providerId="LiveId" clId="{540FC9E8-8425-4C57-B6D7-A2A63A28C955}" dt="2022-09-17T23:46:27.918" v="11659" actId="2696"/>
        <pc:sldMkLst>
          <pc:docMk/>
          <pc:sldMk cId="2196562088" sldId="288"/>
        </pc:sldMkLst>
        <pc:spChg chg="mod">
          <ac:chgData name="Tanu Sood" userId="e2db75ea63d2bb3f" providerId="LiveId" clId="{540FC9E8-8425-4C57-B6D7-A2A63A28C955}" dt="2022-09-17T23:45:55.436" v="11658" actId="20577"/>
          <ac:spMkLst>
            <pc:docMk/>
            <pc:sldMk cId="2196562088" sldId="288"/>
            <ac:spMk id="6" creationId="{953CF19D-CD94-8A8F-5A6B-58CFAEF9D613}"/>
          </ac:spMkLst>
        </pc:spChg>
        <pc:picChg chg="add del mod">
          <ac:chgData name="Tanu Sood" userId="e2db75ea63d2bb3f" providerId="LiveId" clId="{540FC9E8-8425-4C57-B6D7-A2A63A28C955}" dt="2022-09-17T23:37:25.613" v="11442" actId="478"/>
          <ac:picMkLst>
            <pc:docMk/>
            <pc:sldMk cId="2196562088" sldId="288"/>
            <ac:picMk id="2" creationId="{8D77288C-2A04-A6B7-1B2B-8245CAC46259}"/>
          </ac:picMkLst>
        </pc:picChg>
        <pc:picChg chg="add mod">
          <ac:chgData name="Tanu Sood" userId="e2db75ea63d2bb3f" providerId="LiveId" clId="{540FC9E8-8425-4C57-B6D7-A2A63A28C955}" dt="2022-09-17T23:38:01.296" v="11449" actId="1076"/>
          <ac:picMkLst>
            <pc:docMk/>
            <pc:sldMk cId="2196562088" sldId="288"/>
            <ac:picMk id="4" creationId="{ABF5DCF1-1659-609D-06B2-4F3685FC4358}"/>
          </ac:picMkLst>
        </pc:picChg>
        <pc:picChg chg="del mod">
          <ac:chgData name="Tanu Sood" userId="e2db75ea63d2bb3f" providerId="LiveId" clId="{540FC9E8-8425-4C57-B6D7-A2A63A28C955}" dt="2022-09-17T23:35:54.631" v="11371" actId="478"/>
          <ac:picMkLst>
            <pc:docMk/>
            <pc:sldMk cId="2196562088" sldId="288"/>
            <ac:picMk id="5" creationId="{005E6CA0-216A-BEAD-C744-F22C60637E74}"/>
          </ac:picMkLst>
        </pc:picChg>
      </pc:sldChg>
      <pc:sldChg chg="new del">
        <pc:chgData name="Tanu Sood" userId="e2db75ea63d2bb3f" providerId="LiveId" clId="{540FC9E8-8425-4C57-B6D7-A2A63A28C955}" dt="2022-09-18T00:49:00.043" v="12321" actId="2696"/>
        <pc:sldMkLst>
          <pc:docMk/>
          <pc:sldMk cId="3279146256" sldId="289"/>
        </pc:sldMkLst>
      </pc:sldChg>
      <pc:sldChg chg="addSp delSp modSp add del mod">
        <pc:chgData name="Tanu Sood" userId="e2db75ea63d2bb3f" providerId="LiveId" clId="{540FC9E8-8425-4C57-B6D7-A2A63A28C955}" dt="2022-09-18T14:14:07.721" v="14412" actId="2696"/>
        <pc:sldMkLst>
          <pc:docMk/>
          <pc:sldMk cId="3394187804" sldId="290"/>
        </pc:sldMkLst>
        <pc:spChg chg="mod">
          <ac:chgData name="Tanu Sood" userId="e2db75ea63d2bb3f" providerId="LiveId" clId="{540FC9E8-8425-4C57-B6D7-A2A63A28C955}" dt="2022-09-18T00:26:40.885" v="12262" actId="14100"/>
          <ac:spMkLst>
            <pc:docMk/>
            <pc:sldMk cId="3394187804" sldId="290"/>
            <ac:spMk id="6" creationId="{953CF19D-CD94-8A8F-5A6B-58CFAEF9D613}"/>
          </ac:spMkLst>
        </pc:spChg>
        <pc:picChg chg="add mod">
          <ac:chgData name="Tanu Sood" userId="e2db75ea63d2bb3f" providerId="LiveId" clId="{540FC9E8-8425-4C57-B6D7-A2A63A28C955}" dt="2022-09-18T00:26:23.235" v="12169" actId="14100"/>
          <ac:picMkLst>
            <pc:docMk/>
            <pc:sldMk cId="3394187804" sldId="290"/>
            <ac:picMk id="3" creationId="{18C752CD-9493-9A28-6945-75B804ECF21D}"/>
          </ac:picMkLst>
        </pc:picChg>
        <pc:picChg chg="del">
          <ac:chgData name="Tanu Sood" userId="e2db75ea63d2bb3f" providerId="LiveId" clId="{540FC9E8-8425-4C57-B6D7-A2A63A28C955}" dt="2022-09-18T00:22:56.633" v="11872" actId="478"/>
          <ac:picMkLst>
            <pc:docMk/>
            <pc:sldMk cId="3394187804" sldId="290"/>
            <ac:picMk id="4" creationId="{ABF5DCF1-1659-609D-06B2-4F3685FC4358}"/>
          </ac:picMkLst>
        </pc:picChg>
        <pc:picChg chg="add mod">
          <ac:chgData name="Tanu Sood" userId="e2db75ea63d2bb3f" providerId="LiveId" clId="{540FC9E8-8425-4C57-B6D7-A2A63A28C955}" dt="2022-09-18T00:26:34.883" v="12261" actId="1037"/>
          <ac:picMkLst>
            <pc:docMk/>
            <pc:sldMk cId="3394187804" sldId="290"/>
            <ac:picMk id="7" creationId="{1B078EB3-4C22-1E5A-FC04-877C6C43C3F4}"/>
          </ac:picMkLst>
        </pc:picChg>
      </pc:sldChg>
      <pc:sldChg chg="modSp add del mod ord">
        <pc:chgData name="Tanu Sood" userId="e2db75ea63d2bb3f" providerId="LiveId" clId="{540FC9E8-8425-4C57-B6D7-A2A63A28C955}" dt="2022-09-18T00:49:56.761" v="12352" actId="2696"/>
        <pc:sldMkLst>
          <pc:docMk/>
          <pc:sldMk cId="1657967296" sldId="291"/>
        </pc:sldMkLst>
        <pc:spChg chg="mod">
          <ac:chgData name="Tanu Sood" userId="e2db75ea63d2bb3f" providerId="LiveId" clId="{540FC9E8-8425-4C57-B6D7-A2A63A28C955}" dt="2022-09-18T00:45:18.257" v="12319" actId="20577"/>
          <ac:spMkLst>
            <pc:docMk/>
            <pc:sldMk cId="1657967296" sldId="291"/>
            <ac:spMk id="4" creationId="{49CD23CB-21BE-E866-D01E-7AD1A37B9B86}"/>
          </ac:spMkLst>
        </pc:spChg>
        <pc:spChg chg="mod">
          <ac:chgData name="Tanu Sood" userId="e2db75ea63d2bb3f" providerId="LiveId" clId="{540FC9E8-8425-4C57-B6D7-A2A63A28C955}" dt="2022-09-18T00:45:26" v="12320" actId="6549"/>
          <ac:spMkLst>
            <pc:docMk/>
            <pc:sldMk cId="1657967296" sldId="291"/>
            <ac:spMk id="8" creationId="{3C75F09A-3A02-A695-C96C-CD9496DA5CEC}"/>
          </ac:spMkLst>
        </pc:spChg>
      </pc:sldChg>
      <pc:sldChg chg="modSp add mod">
        <pc:chgData name="Tanu Sood" userId="e2db75ea63d2bb3f" providerId="LiveId" clId="{540FC9E8-8425-4C57-B6D7-A2A63A28C955}" dt="2022-09-18T01:27:59.461" v="13211" actId="20577"/>
        <pc:sldMkLst>
          <pc:docMk/>
          <pc:sldMk cId="1298434133" sldId="292"/>
        </pc:sldMkLst>
        <pc:spChg chg="mod">
          <ac:chgData name="Tanu Sood" userId="e2db75ea63d2bb3f" providerId="LiveId" clId="{540FC9E8-8425-4C57-B6D7-A2A63A28C955}" dt="2022-09-18T00:50:58.435" v="12395" actId="20577"/>
          <ac:spMkLst>
            <pc:docMk/>
            <pc:sldMk cId="1298434133" sldId="292"/>
            <ac:spMk id="4" creationId="{49CD23CB-21BE-E866-D01E-7AD1A37B9B86}"/>
          </ac:spMkLst>
        </pc:spChg>
        <pc:spChg chg="mod">
          <ac:chgData name="Tanu Sood" userId="e2db75ea63d2bb3f" providerId="LiveId" clId="{540FC9E8-8425-4C57-B6D7-A2A63A28C955}" dt="2022-09-18T01:27:59.461" v="13211" actId="20577"/>
          <ac:spMkLst>
            <pc:docMk/>
            <pc:sldMk cId="1298434133" sldId="292"/>
            <ac:spMk id="8" creationId="{3C75F09A-3A02-A695-C96C-CD9496DA5CEC}"/>
          </ac:spMkLst>
        </pc:spChg>
      </pc:sldChg>
      <pc:sldChg chg="modSp add mod">
        <pc:chgData name="Tanu Sood" userId="e2db75ea63d2bb3f" providerId="LiveId" clId="{540FC9E8-8425-4C57-B6D7-A2A63A28C955}" dt="2022-09-18T00:57:46.514" v="12793" actId="20577"/>
        <pc:sldMkLst>
          <pc:docMk/>
          <pc:sldMk cId="2991411845" sldId="293"/>
        </pc:sldMkLst>
        <pc:spChg chg="mod">
          <ac:chgData name="Tanu Sood" userId="e2db75ea63d2bb3f" providerId="LiveId" clId="{540FC9E8-8425-4C57-B6D7-A2A63A28C955}" dt="2022-09-18T00:52:55.708" v="12509" actId="20577"/>
          <ac:spMkLst>
            <pc:docMk/>
            <pc:sldMk cId="2991411845" sldId="293"/>
            <ac:spMk id="4" creationId="{49CD23CB-21BE-E866-D01E-7AD1A37B9B86}"/>
          </ac:spMkLst>
        </pc:spChg>
        <pc:spChg chg="mod">
          <ac:chgData name="Tanu Sood" userId="e2db75ea63d2bb3f" providerId="LiveId" clId="{540FC9E8-8425-4C57-B6D7-A2A63A28C955}" dt="2022-09-18T00:57:46.514" v="12793" actId="20577"/>
          <ac:spMkLst>
            <pc:docMk/>
            <pc:sldMk cId="2991411845" sldId="293"/>
            <ac:spMk id="8" creationId="{3C75F09A-3A02-A695-C96C-CD9496DA5CEC}"/>
          </ac:spMkLst>
        </pc:spChg>
      </pc:sldChg>
      <pc:sldChg chg="modSp add mod">
        <pc:chgData name="Tanu Sood" userId="e2db75ea63d2bb3f" providerId="LiveId" clId="{540FC9E8-8425-4C57-B6D7-A2A63A28C955}" dt="2022-09-18T00:57:57.186" v="12877" actId="20577"/>
        <pc:sldMkLst>
          <pc:docMk/>
          <pc:sldMk cId="1586014509" sldId="294"/>
        </pc:sldMkLst>
        <pc:spChg chg="mod">
          <ac:chgData name="Tanu Sood" userId="e2db75ea63d2bb3f" providerId="LiveId" clId="{540FC9E8-8425-4C57-B6D7-A2A63A28C955}" dt="2022-09-18T00:53:33.720" v="12563" actId="20577"/>
          <ac:spMkLst>
            <pc:docMk/>
            <pc:sldMk cId="1586014509" sldId="294"/>
            <ac:spMk id="4" creationId="{49CD23CB-21BE-E866-D01E-7AD1A37B9B86}"/>
          </ac:spMkLst>
        </pc:spChg>
        <pc:spChg chg="mod">
          <ac:chgData name="Tanu Sood" userId="e2db75ea63d2bb3f" providerId="LiveId" clId="{540FC9E8-8425-4C57-B6D7-A2A63A28C955}" dt="2022-09-18T00:57:57.186" v="12877" actId="20577"/>
          <ac:spMkLst>
            <pc:docMk/>
            <pc:sldMk cId="1586014509" sldId="294"/>
            <ac:spMk id="8" creationId="{3C75F09A-3A02-A695-C96C-CD9496DA5CEC}"/>
          </ac:spMkLst>
        </pc:spChg>
      </pc:sldChg>
      <pc:sldChg chg="add del">
        <pc:chgData name="Tanu Sood" userId="e2db75ea63d2bb3f" providerId="LiveId" clId="{540FC9E8-8425-4C57-B6D7-A2A63A28C955}" dt="2022-09-18T02:56:55.844" v="13484"/>
        <pc:sldMkLst>
          <pc:docMk/>
          <pc:sldMk cId="409827463" sldId="295"/>
        </pc:sldMkLst>
      </pc:sldChg>
      <pc:sldChg chg="addSp delSp modSp add del mod">
        <pc:chgData name="Tanu Sood" userId="e2db75ea63d2bb3f" providerId="LiveId" clId="{540FC9E8-8425-4C57-B6D7-A2A63A28C955}" dt="2022-09-18T02:55:32.477" v="13477" actId="2696"/>
        <pc:sldMkLst>
          <pc:docMk/>
          <pc:sldMk cId="643801695" sldId="295"/>
        </pc:sldMkLst>
        <pc:spChg chg="del">
          <ac:chgData name="Tanu Sood" userId="e2db75ea63d2bb3f" providerId="LiveId" clId="{540FC9E8-8425-4C57-B6D7-A2A63A28C955}" dt="2022-09-18T02:54:20.062" v="13471" actId="478"/>
          <ac:spMkLst>
            <pc:docMk/>
            <pc:sldMk cId="643801695" sldId="295"/>
            <ac:spMk id="4" creationId="{4D0104A1-25DB-4A49-B257-40CF6B30A4BF}"/>
          </ac:spMkLst>
        </pc:spChg>
        <pc:spChg chg="del mod">
          <ac:chgData name="Tanu Sood" userId="e2db75ea63d2bb3f" providerId="LiveId" clId="{540FC9E8-8425-4C57-B6D7-A2A63A28C955}" dt="2022-09-18T02:54:29.829" v="13473" actId="478"/>
          <ac:spMkLst>
            <pc:docMk/>
            <pc:sldMk cId="643801695" sldId="295"/>
            <ac:spMk id="5" creationId="{3F040D52-4191-48B5-89BF-0F57F61C4487}"/>
          </ac:spMkLst>
        </pc:spChg>
        <pc:spChg chg="add mod">
          <ac:chgData name="Tanu Sood" userId="e2db75ea63d2bb3f" providerId="LiveId" clId="{540FC9E8-8425-4C57-B6D7-A2A63A28C955}" dt="2022-09-18T02:54:13.591" v="13470" actId="27636"/>
          <ac:spMkLst>
            <pc:docMk/>
            <pc:sldMk cId="643801695" sldId="295"/>
            <ac:spMk id="6" creationId="{2762EAEA-3DAA-D92D-E28A-57C3ACCC8B2A}"/>
          </ac:spMkLst>
        </pc:spChg>
        <pc:spChg chg="mod">
          <ac:chgData name="Tanu Sood" userId="e2db75ea63d2bb3f" providerId="LiveId" clId="{540FC9E8-8425-4C57-B6D7-A2A63A28C955}" dt="2022-09-18T02:54:03.432" v="13461" actId="27636"/>
          <ac:spMkLst>
            <pc:docMk/>
            <pc:sldMk cId="643801695" sldId="295"/>
            <ac:spMk id="7" creationId="{109BBFAA-ECE3-46DC-A227-38CCA1EED110}"/>
          </ac:spMkLst>
        </pc:spChg>
        <pc:spChg chg="del mod">
          <ac:chgData name="Tanu Sood" userId="e2db75ea63d2bb3f" providerId="LiveId" clId="{540FC9E8-8425-4C57-B6D7-A2A63A28C955}" dt="2022-09-18T02:54:13.529" v="13469" actId="478"/>
          <ac:spMkLst>
            <pc:docMk/>
            <pc:sldMk cId="643801695" sldId="295"/>
            <ac:spMk id="29" creationId="{5BD9075D-1F42-4726-8EC6-EE8B416392BD}"/>
          </ac:spMkLst>
        </pc:spChg>
        <pc:spChg chg="mod">
          <ac:chgData name="Tanu Sood" userId="e2db75ea63d2bb3f" providerId="LiveId" clId="{540FC9E8-8425-4C57-B6D7-A2A63A28C955}" dt="2022-09-18T02:54:03.442" v="13468" actId="27636"/>
          <ac:spMkLst>
            <pc:docMk/>
            <pc:sldMk cId="643801695" sldId="295"/>
            <ac:spMk id="30" creationId="{0AC0E371-764C-41CA-9680-267350C7EE1C}"/>
          </ac:spMkLst>
        </pc:spChg>
        <pc:spChg chg="mod">
          <ac:chgData name="Tanu Sood" userId="e2db75ea63d2bb3f" providerId="LiveId" clId="{540FC9E8-8425-4C57-B6D7-A2A63A28C955}" dt="2022-09-18T02:54:03.427" v="13459" actId="27636"/>
          <ac:spMkLst>
            <pc:docMk/>
            <pc:sldMk cId="643801695" sldId="295"/>
            <ac:spMk id="31" creationId="{95712C8D-157C-4EF1-B565-889F5684F1BA}"/>
          </ac:spMkLst>
        </pc:spChg>
        <pc:spChg chg="mod">
          <ac:chgData name="Tanu Sood" userId="e2db75ea63d2bb3f" providerId="LiveId" clId="{540FC9E8-8425-4C57-B6D7-A2A63A28C955}" dt="2022-09-18T02:54:03.442" v="13466" actId="27636"/>
          <ac:spMkLst>
            <pc:docMk/>
            <pc:sldMk cId="643801695" sldId="295"/>
            <ac:spMk id="32" creationId="{188B3941-E817-44DE-8D5A-DCA0DAB61823}"/>
          </ac:spMkLst>
        </pc:spChg>
        <pc:spChg chg="mod">
          <ac:chgData name="Tanu Sood" userId="e2db75ea63d2bb3f" providerId="LiveId" clId="{540FC9E8-8425-4C57-B6D7-A2A63A28C955}" dt="2022-09-18T02:54:03.441" v="13465" actId="27636"/>
          <ac:spMkLst>
            <pc:docMk/>
            <pc:sldMk cId="643801695" sldId="295"/>
            <ac:spMk id="33" creationId="{20613223-43E0-4B37-AFB8-C0C5F47750A5}"/>
          </ac:spMkLst>
        </pc:spChg>
        <pc:spChg chg="mod">
          <ac:chgData name="Tanu Sood" userId="e2db75ea63d2bb3f" providerId="LiveId" clId="{540FC9E8-8425-4C57-B6D7-A2A63A28C955}" dt="2022-09-18T02:54:03.439" v="13464" actId="27636"/>
          <ac:spMkLst>
            <pc:docMk/>
            <pc:sldMk cId="643801695" sldId="295"/>
            <ac:spMk id="34" creationId="{3C4E060E-0CFB-411A-B226-CDA349703288}"/>
          </ac:spMkLst>
        </pc:spChg>
        <pc:spChg chg="mod">
          <ac:chgData name="Tanu Sood" userId="e2db75ea63d2bb3f" providerId="LiveId" clId="{540FC9E8-8425-4C57-B6D7-A2A63A28C955}" dt="2022-09-18T02:55:16.121" v="13476"/>
          <ac:spMkLst>
            <pc:docMk/>
            <pc:sldMk cId="643801695" sldId="295"/>
            <ac:spMk id="35" creationId="{736BA5EA-18C4-4263-BDB0-C57CB168D0AF}"/>
          </ac:spMkLst>
        </pc:spChg>
        <pc:spChg chg="mod">
          <ac:chgData name="Tanu Sood" userId="e2db75ea63d2bb3f" providerId="LiveId" clId="{540FC9E8-8425-4C57-B6D7-A2A63A28C955}" dt="2022-09-18T02:54:03.421" v="13457" actId="27636"/>
          <ac:spMkLst>
            <pc:docMk/>
            <pc:sldMk cId="643801695" sldId="295"/>
            <ac:spMk id="37" creationId="{D78092F6-F4AA-40B6-B5DE-CEA37AB1A9D2}"/>
          </ac:spMkLst>
        </pc:spChg>
        <pc:spChg chg="mod">
          <ac:chgData name="Tanu Sood" userId="e2db75ea63d2bb3f" providerId="LiveId" clId="{540FC9E8-8425-4C57-B6D7-A2A63A28C955}" dt="2022-09-18T02:54:03.442" v="13467" actId="27636"/>
          <ac:spMkLst>
            <pc:docMk/>
            <pc:sldMk cId="643801695" sldId="295"/>
            <ac:spMk id="38" creationId="{4EC928A2-6A4A-452E-8823-81F26EA40C9C}"/>
          </ac:spMkLst>
        </pc:spChg>
        <pc:spChg chg="mod">
          <ac:chgData name="Tanu Sood" userId="e2db75ea63d2bb3f" providerId="LiveId" clId="{540FC9E8-8425-4C57-B6D7-A2A63A28C955}" dt="2022-09-18T02:54:03.431" v="13460" actId="27636"/>
          <ac:spMkLst>
            <pc:docMk/>
            <pc:sldMk cId="643801695" sldId="295"/>
            <ac:spMk id="39" creationId="{0388AEE0-2630-4EEB-80E0-53D74792BE97}"/>
          </ac:spMkLst>
        </pc:spChg>
        <pc:spChg chg="mod">
          <ac:chgData name="Tanu Sood" userId="e2db75ea63d2bb3f" providerId="LiveId" clId="{540FC9E8-8425-4C57-B6D7-A2A63A28C955}" dt="2022-09-18T02:54:03.437" v="13463" actId="27636"/>
          <ac:spMkLst>
            <pc:docMk/>
            <pc:sldMk cId="643801695" sldId="295"/>
            <ac:spMk id="40" creationId="{F5F658D4-342A-4944-98F5-EC1761CC401B}"/>
          </ac:spMkLst>
        </pc:spChg>
      </pc:sldChg>
      <pc:sldChg chg="add del">
        <pc:chgData name="Tanu Sood" userId="e2db75ea63d2bb3f" providerId="LiveId" clId="{540FC9E8-8425-4C57-B6D7-A2A63A28C955}" dt="2022-09-18T14:09:11.666" v="14408" actId="2696"/>
        <pc:sldMkLst>
          <pc:docMk/>
          <pc:sldMk cId="2866529351" sldId="295"/>
        </pc:sldMkLst>
      </pc:sldChg>
      <pc:sldChg chg="addSp delSp modSp new del mod">
        <pc:chgData name="Tanu Sood" userId="e2db75ea63d2bb3f" providerId="LiveId" clId="{540FC9E8-8425-4C57-B6D7-A2A63A28C955}" dt="2022-09-18T12:48:46.244" v="13713" actId="2696"/>
        <pc:sldMkLst>
          <pc:docMk/>
          <pc:sldMk cId="2628205086" sldId="296"/>
        </pc:sldMkLst>
        <pc:spChg chg="del">
          <ac:chgData name="Tanu Sood" userId="e2db75ea63d2bb3f" providerId="LiveId" clId="{540FC9E8-8425-4C57-B6D7-A2A63A28C955}" dt="2022-09-18T12:35:38.850" v="13549" actId="478"/>
          <ac:spMkLst>
            <pc:docMk/>
            <pc:sldMk cId="2628205086" sldId="296"/>
            <ac:spMk id="2" creationId="{BD3DEA21-5CCA-4467-AAD3-D6C48BFDCACC}"/>
          </ac:spMkLst>
        </pc:spChg>
        <pc:spChg chg="del mod">
          <ac:chgData name="Tanu Sood" userId="e2db75ea63d2bb3f" providerId="LiveId" clId="{540FC9E8-8425-4C57-B6D7-A2A63A28C955}" dt="2022-09-18T12:35:41.815" v="13551" actId="478"/>
          <ac:spMkLst>
            <pc:docMk/>
            <pc:sldMk cId="2628205086" sldId="296"/>
            <ac:spMk id="3" creationId="{C10F6D88-2515-392F-E56B-4961ED02C97A}"/>
          </ac:spMkLst>
        </pc:spChg>
        <pc:spChg chg="del">
          <ac:chgData name="Tanu Sood" userId="e2db75ea63d2bb3f" providerId="LiveId" clId="{540FC9E8-8425-4C57-B6D7-A2A63A28C955}" dt="2022-09-18T12:35:48.638" v="13552" actId="478"/>
          <ac:spMkLst>
            <pc:docMk/>
            <pc:sldMk cId="2628205086" sldId="296"/>
            <ac:spMk id="4" creationId="{CC28165A-2F7C-5A34-2DFD-D7C670ACDB03}"/>
          </ac:spMkLst>
        </pc:spChg>
        <pc:spChg chg="del mod">
          <ac:chgData name="Tanu Sood" userId="e2db75ea63d2bb3f" providerId="LiveId" clId="{540FC9E8-8425-4C57-B6D7-A2A63A28C955}" dt="2022-09-18T12:37:21.968" v="13562" actId="478"/>
          <ac:spMkLst>
            <pc:docMk/>
            <pc:sldMk cId="2628205086" sldId="296"/>
            <ac:spMk id="10" creationId="{E0823C93-2A08-7589-7E07-3D776E3777D9}"/>
          </ac:spMkLst>
        </pc:spChg>
        <pc:spChg chg="del mod">
          <ac:chgData name="Tanu Sood" userId="e2db75ea63d2bb3f" providerId="LiveId" clId="{540FC9E8-8425-4C57-B6D7-A2A63A28C955}" dt="2022-09-18T12:37:18.329" v="13561" actId="478"/>
          <ac:spMkLst>
            <pc:docMk/>
            <pc:sldMk cId="2628205086" sldId="296"/>
            <ac:spMk id="11" creationId="{F6E6EC76-1059-B02E-CCE5-5B94161E3A65}"/>
          </ac:spMkLst>
        </pc:spChg>
        <pc:spChg chg="del mod">
          <ac:chgData name="Tanu Sood" userId="e2db75ea63d2bb3f" providerId="LiveId" clId="{540FC9E8-8425-4C57-B6D7-A2A63A28C955}" dt="2022-09-18T12:37:07.457" v="13559" actId="478"/>
          <ac:spMkLst>
            <pc:docMk/>
            <pc:sldMk cId="2628205086" sldId="296"/>
            <ac:spMk id="12" creationId="{26667445-03CE-B127-E964-F5FF40A0000B}"/>
          </ac:spMkLst>
        </pc:spChg>
        <pc:spChg chg="del mod">
          <ac:chgData name="Tanu Sood" userId="e2db75ea63d2bb3f" providerId="LiveId" clId="{540FC9E8-8425-4C57-B6D7-A2A63A28C955}" dt="2022-09-18T12:37:11.879" v="13560" actId="478"/>
          <ac:spMkLst>
            <pc:docMk/>
            <pc:sldMk cId="2628205086" sldId="296"/>
            <ac:spMk id="13" creationId="{15963619-CCFD-0F26-7757-F0BD2B01201A}"/>
          </ac:spMkLst>
        </pc:spChg>
        <pc:spChg chg="mod">
          <ac:chgData name="Tanu Sood" userId="e2db75ea63d2bb3f" providerId="LiveId" clId="{540FC9E8-8425-4C57-B6D7-A2A63A28C955}" dt="2022-09-18T12:36:52.305" v="13555"/>
          <ac:spMkLst>
            <pc:docMk/>
            <pc:sldMk cId="2628205086" sldId="296"/>
            <ac:spMk id="14" creationId="{4A30E044-DCF6-411E-CF5A-140BD4CAFFA0}"/>
          </ac:spMkLst>
        </pc:spChg>
        <pc:spChg chg="mod">
          <ac:chgData name="Tanu Sood" userId="e2db75ea63d2bb3f" providerId="LiveId" clId="{540FC9E8-8425-4C57-B6D7-A2A63A28C955}" dt="2022-09-18T12:36:52.305" v="13555"/>
          <ac:spMkLst>
            <pc:docMk/>
            <pc:sldMk cId="2628205086" sldId="296"/>
            <ac:spMk id="15" creationId="{0351DE7B-2D73-8BBC-B83B-FD5611A6E946}"/>
          </ac:spMkLst>
        </pc:spChg>
        <pc:spChg chg="mod">
          <ac:chgData name="Tanu Sood" userId="e2db75ea63d2bb3f" providerId="LiveId" clId="{540FC9E8-8425-4C57-B6D7-A2A63A28C955}" dt="2022-09-18T12:44:12.584" v="13712" actId="20577"/>
          <ac:spMkLst>
            <pc:docMk/>
            <pc:sldMk cId="2628205086" sldId="296"/>
            <ac:spMk id="16" creationId="{D19AB96A-228D-2F4A-6B83-9247AC7BE20D}"/>
          </ac:spMkLst>
        </pc:spChg>
        <pc:spChg chg="mod">
          <ac:chgData name="Tanu Sood" userId="e2db75ea63d2bb3f" providerId="LiveId" clId="{540FC9E8-8425-4C57-B6D7-A2A63A28C955}" dt="2022-09-18T12:40:50.413" v="13609" actId="20577"/>
          <ac:spMkLst>
            <pc:docMk/>
            <pc:sldMk cId="2628205086" sldId="296"/>
            <ac:spMk id="17" creationId="{FEE17A5D-0D4A-FA6B-B47D-51CC9B0FE21D}"/>
          </ac:spMkLst>
        </pc:spChg>
        <pc:spChg chg="add del mod">
          <ac:chgData name="Tanu Sood" userId="e2db75ea63d2bb3f" providerId="LiveId" clId="{540FC9E8-8425-4C57-B6D7-A2A63A28C955}" dt="2022-09-18T12:37:58.866" v="13572" actId="478"/>
          <ac:spMkLst>
            <pc:docMk/>
            <pc:sldMk cId="2628205086" sldId="296"/>
            <ac:spMk id="18" creationId="{C0B8379F-6CB1-D401-C900-B92060EB581F}"/>
          </ac:spMkLst>
        </pc:spChg>
        <pc:spChg chg="add del mod">
          <ac:chgData name="Tanu Sood" userId="e2db75ea63d2bb3f" providerId="LiveId" clId="{540FC9E8-8425-4C57-B6D7-A2A63A28C955}" dt="2022-09-18T12:38:03.833" v="13573" actId="478"/>
          <ac:spMkLst>
            <pc:docMk/>
            <pc:sldMk cId="2628205086" sldId="296"/>
            <ac:spMk id="20" creationId="{D2C8B338-2B33-F651-1227-C61CD934AD0E}"/>
          </ac:spMkLst>
        </pc:spChg>
        <pc:spChg chg="add del">
          <ac:chgData name="Tanu Sood" userId="e2db75ea63d2bb3f" providerId="LiveId" clId="{540FC9E8-8425-4C57-B6D7-A2A63A28C955}" dt="2022-09-18T12:43:15.643" v="13667" actId="478"/>
          <ac:spMkLst>
            <pc:docMk/>
            <pc:sldMk cId="2628205086" sldId="296"/>
            <ac:spMk id="22" creationId="{8A77DA86-49F9-EB15-5E58-0134C05EAF8F}"/>
          </ac:spMkLst>
        </pc:spChg>
        <pc:grpChg chg="add mod">
          <ac:chgData name="Tanu Sood" userId="e2db75ea63d2bb3f" providerId="LiveId" clId="{540FC9E8-8425-4C57-B6D7-A2A63A28C955}" dt="2022-09-18T12:38:09.977" v="13574" actId="1076"/>
          <ac:grpSpMkLst>
            <pc:docMk/>
            <pc:sldMk cId="2628205086" sldId="296"/>
            <ac:grpSpMk id="5" creationId="{5D53893D-1482-25E0-A7E6-68C30ED0CDD0}"/>
          </ac:grpSpMkLst>
        </pc:grpChg>
        <pc:grpChg chg="mod">
          <ac:chgData name="Tanu Sood" userId="e2db75ea63d2bb3f" providerId="LiveId" clId="{540FC9E8-8425-4C57-B6D7-A2A63A28C955}" dt="2022-09-18T12:36:52.305" v="13555"/>
          <ac:grpSpMkLst>
            <pc:docMk/>
            <pc:sldMk cId="2628205086" sldId="296"/>
            <ac:grpSpMk id="6" creationId="{337A88FD-1D50-334C-2B44-CB5D742EA92F}"/>
          </ac:grpSpMkLst>
        </pc:grpChg>
        <pc:grpChg chg="mod">
          <ac:chgData name="Tanu Sood" userId="e2db75ea63d2bb3f" providerId="LiveId" clId="{540FC9E8-8425-4C57-B6D7-A2A63A28C955}" dt="2022-09-18T12:36:52.305" v="13555"/>
          <ac:grpSpMkLst>
            <pc:docMk/>
            <pc:sldMk cId="2628205086" sldId="296"/>
            <ac:grpSpMk id="7" creationId="{AE2815ED-7FB0-1B77-89FC-7DFBAB607B15}"/>
          </ac:grpSpMkLst>
        </pc:grpChg>
        <pc:grpChg chg="del mod">
          <ac:chgData name="Tanu Sood" userId="e2db75ea63d2bb3f" providerId="LiveId" clId="{540FC9E8-8425-4C57-B6D7-A2A63A28C955}" dt="2022-09-18T12:37:07.457" v="13559" actId="478"/>
          <ac:grpSpMkLst>
            <pc:docMk/>
            <pc:sldMk cId="2628205086" sldId="296"/>
            <ac:grpSpMk id="8" creationId="{C029FBD3-EA80-8BE6-9F7F-AABE4B6AC493}"/>
          </ac:grpSpMkLst>
        </pc:grpChg>
        <pc:grpChg chg="del mod">
          <ac:chgData name="Tanu Sood" userId="e2db75ea63d2bb3f" providerId="LiveId" clId="{540FC9E8-8425-4C57-B6D7-A2A63A28C955}" dt="2022-09-18T12:37:18.329" v="13561" actId="478"/>
          <ac:grpSpMkLst>
            <pc:docMk/>
            <pc:sldMk cId="2628205086" sldId="296"/>
            <ac:grpSpMk id="9" creationId="{92DF88BD-8AE9-6D7F-506C-B78C3BEC9B2F}"/>
          </ac:grpSpMkLst>
        </pc:grpChg>
      </pc:sldChg>
      <pc:sldChg chg="add">
        <pc:chgData name="Tanu Sood" userId="e2db75ea63d2bb3f" providerId="LiveId" clId="{540FC9E8-8425-4C57-B6D7-A2A63A28C955}" dt="2022-09-18T12:48:50.781" v="13714"/>
        <pc:sldMkLst>
          <pc:docMk/>
          <pc:sldMk cId="3414391198" sldId="296"/>
        </pc:sldMkLst>
      </pc:sldChg>
      <pc:sldChg chg="modSp mod">
        <pc:chgData name="Tanu Sood" userId="e2db75ea63d2bb3f" providerId="LiveId" clId="{540FC9E8-8425-4C57-B6D7-A2A63A28C955}" dt="2022-09-18T13:12:14.653" v="14203" actId="20577"/>
        <pc:sldMkLst>
          <pc:docMk/>
          <pc:sldMk cId="965680439" sldId="297"/>
        </pc:sldMkLst>
        <pc:spChg chg="mod">
          <ac:chgData name="Tanu Sood" userId="e2db75ea63d2bb3f" providerId="LiveId" clId="{540FC9E8-8425-4C57-B6D7-A2A63A28C955}" dt="2022-09-18T13:12:14.653" v="14203" actId="20577"/>
          <ac:spMkLst>
            <pc:docMk/>
            <pc:sldMk cId="965680439" sldId="297"/>
            <ac:spMk id="2" creationId="{00000000-0000-0000-0000-000000000000}"/>
          </ac:spMkLst>
        </pc:spChg>
        <pc:spChg chg="mod">
          <ac:chgData name="Tanu Sood" userId="e2db75ea63d2bb3f" providerId="LiveId" clId="{540FC9E8-8425-4C57-B6D7-A2A63A28C955}" dt="2022-09-18T13:04:22.383" v="13954" actId="1036"/>
          <ac:spMkLst>
            <pc:docMk/>
            <pc:sldMk cId="965680439" sldId="297"/>
            <ac:spMk id="3" creationId="{00000000-0000-0000-0000-000000000000}"/>
          </ac:spMkLst>
        </pc:spChg>
        <pc:spChg chg="mod">
          <ac:chgData name="Tanu Sood" userId="e2db75ea63d2bb3f" providerId="LiveId" clId="{540FC9E8-8425-4C57-B6D7-A2A63A28C955}" dt="2022-09-18T13:05:08.103" v="13993" actId="1036"/>
          <ac:spMkLst>
            <pc:docMk/>
            <pc:sldMk cId="965680439" sldId="297"/>
            <ac:spMk id="28" creationId="{00000000-0000-0000-0000-000000000000}"/>
          </ac:spMkLst>
        </pc:spChg>
        <pc:spChg chg="mod">
          <ac:chgData name="Tanu Sood" userId="e2db75ea63d2bb3f" providerId="LiveId" clId="{540FC9E8-8425-4C57-B6D7-A2A63A28C955}" dt="2022-09-18T13:05:34.753" v="14020" actId="1038"/>
          <ac:spMkLst>
            <pc:docMk/>
            <pc:sldMk cId="965680439" sldId="297"/>
            <ac:spMk id="29" creationId="{00000000-0000-0000-0000-000000000000}"/>
          </ac:spMkLst>
        </pc:spChg>
        <pc:spChg chg="mod">
          <ac:chgData name="Tanu Sood" userId="e2db75ea63d2bb3f" providerId="LiveId" clId="{540FC9E8-8425-4C57-B6D7-A2A63A28C955}" dt="2022-09-18T12:59:27.229" v="13764" actId="20577"/>
          <ac:spMkLst>
            <pc:docMk/>
            <pc:sldMk cId="965680439" sldId="297"/>
            <ac:spMk id="30" creationId="{00000000-0000-0000-0000-000000000000}"/>
          </ac:spMkLst>
        </pc:spChg>
        <pc:spChg chg="mod">
          <ac:chgData name="Tanu Sood" userId="e2db75ea63d2bb3f" providerId="LiveId" clId="{540FC9E8-8425-4C57-B6D7-A2A63A28C955}" dt="2022-09-18T13:10:14.941" v="14180" actId="20577"/>
          <ac:spMkLst>
            <pc:docMk/>
            <pc:sldMk cId="965680439" sldId="297"/>
            <ac:spMk id="449" creationId="{00000000-0000-0000-0000-000000000000}"/>
          </ac:spMkLst>
        </pc:spChg>
        <pc:spChg chg="mod">
          <ac:chgData name="Tanu Sood" userId="e2db75ea63d2bb3f" providerId="LiveId" clId="{540FC9E8-8425-4C57-B6D7-A2A63A28C955}" dt="2022-09-18T13:08:24.678" v="14098"/>
          <ac:spMkLst>
            <pc:docMk/>
            <pc:sldMk cId="965680439" sldId="297"/>
            <ac:spMk id="459" creationId="{00000000-0000-0000-0000-000000000000}"/>
          </ac:spMkLst>
        </pc:spChg>
        <pc:spChg chg="mod">
          <ac:chgData name="Tanu Sood" userId="e2db75ea63d2bb3f" providerId="LiveId" clId="{540FC9E8-8425-4C57-B6D7-A2A63A28C955}" dt="2022-09-18T13:10:21.805" v="14181" actId="6549"/>
          <ac:spMkLst>
            <pc:docMk/>
            <pc:sldMk cId="965680439" sldId="297"/>
            <ac:spMk id="460" creationId="{00000000-0000-0000-0000-000000000000}"/>
          </ac:spMkLst>
        </pc:spChg>
        <pc:spChg chg="mod">
          <ac:chgData name="Tanu Sood" userId="e2db75ea63d2bb3f" providerId="LiveId" clId="{540FC9E8-8425-4C57-B6D7-A2A63A28C955}" dt="2022-09-18T13:09:44.108" v="14166" actId="21"/>
          <ac:spMkLst>
            <pc:docMk/>
            <pc:sldMk cId="965680439" sldId="297"/>
            <ac:spMk id="461" creationId="{00000000-0000-0000-0000-000000000000}"/>
          </ac:spMkLst>
        </pc:spChg>
      </pc:sldChg>
      <pc:sldChg chg="add del">
        <pc:chgData name="Tanu Sood" userId="e2db75ea63d2bb3f" providerId="LiveId" clId="{540FC9E8-8425-4C57-B6D7-A2A63A28C955}" dt="2022-09-18T12:35:55.988" v="13554"/>
        <pc:sldMkLst>
          <pc:docMk/>
          <pc:sldMk cId="2875406716" sldId="297"/>
        </pc:sldMkLst>
      </pc:sldChg>
      <pc:sldChg chg="modSp mod">
        <pc:chgData name="Tanu Sood" userId="e2db75ea63d2bb3f" providerId="LiveId" clId="{540FC9E8-8425-4C57-B6D7-A2A63A28C955}" dt="2022-09-18T14:05:25.763" v="14398" actId="20577"/>
        <pc:sldMkLst>
          <pc:docMk/>
          <pc:sldMk cId="3652480243" sldId="322"/>
        </pc:sldMkLst>
        <pc:spChg chg="mod">
          <ac:chgData name="Tanu Sood" userId="e2db75ea63d2bb3f" providerId="LiveId" clId="{540FC9E8-8425-4C57-B6D7-A2A63A28C955}" dt="2022-09-18T14:05:25.763" v="14398" actId="20577"/>
          <ac:spMkLst>
            <pc:docMk/>
            <pc:sldMk cId="3652480243" sldId="322"/>
            <ac:spMk id="2" creationId="{00000000-0000-0000-0000-000000000000}"/>
          </ac:spMkLst>
        </pc:spChg>
        <pc:spChg chg="mod">
          <ac:chgData name="Tanu Sood" userId="e2db75ea63d2bb3f" providerId="LiveId" clId="{540FC9E8-8425-4C57-B6D7-A2A63A28C955}" dt="2022-09-18T14:04:17.566" v="14299" actId="207"/>
          <ac:spMkLst>
            <pc:docMk/>
            <pc:sldMk cId="3652480243" sldId="322"/>
            <ac:spMk id="82" creationId="{00000000-0000-0000-0000-000000000000}"/>
          </ac:spMkLst>
        </pc:spChg>
      </pc:sldChg>
      <pc:sldChg chg="modSp mod">
        <pc:chgData name="Tanu Sood" userId="e2db75ea63d2bb3f" providerId="LiveId" clId="{540FC9E8-8425-4C57-B6D7-A2A63A28C955}" dt="2022-09-18T14:19:59.421" v="14434" actId="20577"/>
        <pc:sldMkLst>
          <pc:docMk/>
          <pc:sldMk cId="2540176023" sldId="346"/>
        </pc:sldMkLst>
        <pc:spChg chg="mod">
          <ac:chgData name="Tanu Sood" userId="e2db75ea63d2bb3f" providerId="LiveId" clId="{540FC9E8-8425-4C57-B6D7-A2A63A28C955}" dt="2022-09-18T14:19:59.421" v="14434" actId="20577"/>
          <ac:spMkLst>
            <pc:docMk/>
            <pc:sldMk cId="2540176023" sldId="346"/>
            <ac:spMk id="2" creationId="{00000000-0000-0000-0000-000000000000}"/>
          </ac:spMkLst>
        </pc:spChg>
      </pc:sldChg>
      <pc:sldChg chg="modSp mod">
        <pc:chgData name="Tanu Sood" userId="e2db75ea63d2bb3f" providerId="LiveId" clId="{540FC9E8-8425-4C57-B6D7-A2A63A28C955}" dt="2022-09-18T14:05:35.516" v="14399" actId="6549"/>
        <pc:sldMkLst>
          <pc:docMk/>
          <pc:sldMk cId="1316156206" sldId="351"/>
        </pc:sldMkLst>
        <pc:spChg chg="mod">
          <ac:chgData name="Tanu Sood" userId="e2db75ea63d2bb3f" providerId="LiveId" clId="{540FC9E8-8425-4C57-B6D7-A2A63A28C955}" dt="2022-09-18T14:05:35.516" v="14399" actId="6549"/>
          <ac:spMkLst>
            <pc:docMk/>
            <pc:sldMk cId="1316156206" sldId="351"/>
            <ac:spMk id="2" creationId="{00000000-0000-0000-0000-000000000000}"/>
          </ac:spMkLst>
        </pc:spChg>
      </pc:sldChg>
      <pc:sldChg chg="modSp mod">
        <pc:chgData name="Tanu Sood" userId="e2db75ea63d2bb3f" providerId="LiveId" clId="{540FC9E8-8425-4C57-B6D7-A2A63A28C955}" dt="2022-09-18T14:04:45.128" v="14327" actId="20577"/>
        <pc:sldMkLst>
          <pc:docMk/>
          <pc:sldMk cId="868438873" sldId="371"/>
        </pc:sldMkLst>
        <pc:spChg chg="mod">
          <ac:chgData name="Tanu Sood" userId="e2db75ea63d2bb3f" providerId="LiveId" clId="{540FC9E8-8425-4C57-B6D7-A2A63A28C955}" dt="2022-09-18T14:04:45.128" v="14327" actId="20577"/>
          <ac:spMkLst>
            <pc:docMk/>
            <pc:sldMk cId="868438873" sldId="371"/>
            <ac:spMk id="50" creationId="{00000000-0000-0000-0000-000000000000}"/>
          </ac:spMkLst>
        </pc:spChg>
      </pc:sldChg>
      <pc:sldChg chg="modSp add mod">
        <pc:chgData name="Tanu Sood" userId="e2db75ea63d2bb3f" providerId="LiveId" clId="{540FC9E8-8425-4C57-B6D7-A2A63A28C955}" dt="2022-09-18T14:05:44.036" v="14401" actId="20577"/>
        <pc:sldMkLst>
          <pc:docMk/>
          <pc:sldMk cId="1802160716" sldId="378"/>
        </pc:sldMkLst>
        <pc:spChg chg="mod">
          <ac:chgData name="Tanu Sood" userId="e2db75ea63d2bb3f" providerId="LiveId" clId="{540FC9E8-8425-4C57-B6D7-A2A63A28C955}" dt="2022-09-18T14:05:44.036" v="14401" actId="20577"/>
          <ac:spMkLst>
            <pc:docMk/>
            <pc:sldMk cId="1802160716" sldId="378"/>
            <ac:spMk id="24" creationId="{00000000-0000-0000-0000-000000000000}"/>
          </ac:spMkLst>
        </pc:spChg>
      </pc:sldChg>
      <pc:sldChg chg="new">
        <pc:chgData name="Tanu Sood" userId="e2db75ea63d2bb3f" providerId="LiveId" clId="{540FC9E8-8425-4C57-B6D7-A2A63A28C955}" dt="2022-09-18T14:12:17.961" v="14409" actId="680"/>
        <pc:sldMkLst>
          <pc:docMk/>
          <pc:sldMk cId="3586161283" sldId="379"/>
        </pc:sldMkLst>
      </pc:sldChg>
      <pc:sldChg chg="new">
        <pc:chgData name="Tanu Sood" userId="e2db75ea63d2bb3f" providerId="LiveId" clId="{540FC9E8-8425-4C57-B6D7-A2A63A28C955}" dt="2022-09-18T14:12:22.853" v="14410" actId="680"/>
        <pc:sldMkLst>
          <pc:docMk/>
          <pc:sldMk cId="4172252069" sldId="380"/>
        </pc:sldMkLst>
      </pc:sldChg>
      <pc:sldChg chg="new">
        <pc:chgData name="Tanu Sood" userId="e2db75ea63d2bb3f" providerId="LiveId" clId="{540FC9E8-8425-4C57-B6D7-A2A63A28C955}" dt="2022-09-18T14:21:08.456" v="14435" actId="680"/>
        <pc:sldMkLst>
          <pc:docMk/>
          <pc:sldMk cId="4137141427" sldId="381"/>
        </pc:sldMkLst>
      </pc:sldChg>
      <pc:sldMasterChg chg="delSldLayout">
        <pc:chgData name="Tanu Sood" userId="e2db75ea63d2bb3f" providerId="LiveId" clId="{540FC9E8-8425-4C57-B6D7-A2A63A28C955}" dt="2022-09-18T02:55:32.477" v="13477" actId="2696"/>
        <pc:sldMasterMkLst>
          <pc:docMk/>
          <pc:sldMasterMk cId="0" sldId="2147483648"/>
        </pc:sldMasterMkLst>
        <pc:sldLayoutChg chg="del">
          <pc:chgData name="Tanu Sood" userId="e2db75ea63d2bb3f" providerId="LiveId" clId="{540FC9E8-8425-4C57-B6D7-A2A63A28C955}" dt="2022-09-18T02:55:32.477" v="13477" actId="2696"/>
          <pc:sldLayoutMkLst>
            <pc:docMk/>
            <pc:sldMasterMk cId="0" sldId="2147483648"/>
            <pc:sldLayoutMk cId="3271494490" sldId="214748365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 name="Google Shape;99;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63356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SG" dirty="0"/>
          </a:p>
        </p:txBody>
      </p:sp>
    </p:spTree>
    <p:extLst>
      <p:ext uri="{BB962C8B-B14F-4D97-AF65-F5344CB8AC3E}">
        <p14:creationId xmlns:p14="http://schemas.microsoft.com/office/powerpoint/2010/main" val="1750801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9" name="Google Shape;189;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715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12" name="Google Shape;11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4454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2" name="Google Shape;11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6330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12" name="Google Shape;11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2870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12" name="Google Shape;11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13735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887366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SG" dirty="0"/>
          </a:p>
        </p:txBody>
      </p:sp>
    </p:spTree>
    <p:extLst>
      <p:ext uri="{BB962C8B-B14F-4D97-AF65-F5344CB8AC3E}">
        <p14:creationId xmlns:p14="http://schemas.microsoft.com/office/powerpoint/2010/main" val="3083685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2" name="Google Shape;11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00958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2" name="Google Shape;112;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5448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1"/>
        <p:cNvGrpSpPr/>
        <p:nvPr/>
      </p:nvGrpSpPr>
      <p:grpSpPr>
        <a:xfrm>
          <a:off x="0" y="0"/>
          <a:ext cx="0" cy="0"/>
          <a:chOff x="0" y="0"/>
          <a:chExt cx="0" cy="0"/>
        </a:xfrm>
      </p:grpSpPr>
      <p:sp>
        <p:nvSpPr>
          <p:cNvPr id="12" name="Google Shape;12;p1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1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Interim Slide">
  <p:cSld name="Interim Slide">
    <p:spTree>
      <p:nvGrpSpPr>
        <p:cNvPr id="1" name="Shape 17"/>
        <p:cNvGrpSpPr/>
        <p:nvPr/>
      </p:nvGrpSpPr>
      <p:grpSpPr>
        <a:xfrm>
          <a:off x="0" y="0"/>
          <a:ext cx="0" cy="0"/>
          <a:chOff x="0" y="0"/>
          <a:chExt cx="0" cy="0"/>
        </a:xfrm>
      </p:grpSpPr>
      <p:pic>
        <p:nvPicPr>
          <p:cNvPr id="18" name="Google Shape;18;p12" descr="A blue rectangle with a white background&#10;&#10;Description automatically generated with low confidence"/>
          <p:cNvPicPr preferRelativeResize="0"/>
          <p:nvPr/>
        </p:nvPicPr>
        <p:blipFill rotWithShape="1">
          <a:blip r:embed="rId2">
            <a:alphaModFix/>
          </a:blip>
          <a:srcRect/>
          <a:stretch/>
        </p:blipFill>
        <p:spPr>
          <a:xfrm>
            <a:off x="0" y="-6872"/>
            <a:ext cx="12192000" cy="6871744"/>
          </a:xfrm>
          <a:prstGeom prst="rect">
            <a:avLst/>
          </a:prstGeom>
          <a:noFill/>
          <a:ln>
            <a:noFill/>
          </a:ln>
        </p:spPr>
      </p:pic>
      <p:sp>
        <p:nvSpPr>
          <p:cNvPr id="19" name="Google Shape;19;p12"/>
          <p:cNvSpPr txBox="1">
            <a:spLocks noGrp="1"/>
          </p:cNvSpPr>
          <p:nvPr>
            <p:ph type="dt" idx="10"/>
          </p:nvPr>
        </p:nvSpPr>
        <p:spPr>
          <a:xfrm>
            <a:off x="510810" y="5913465"/>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12"/>
          <p:cNvSpPr txBox="1">
            <a:spLocks noGrp="1"/>
          </p:cNvSpPr>
          <p:nvPr>
            <p:ph type="ftr" idx="11"/>
          </p:nvPr>
        </p:nvSpPr>
        <p:spPr>
          <a:xfrm>
            <a:off x="4038600" y="5913465"/>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12"/>
          <p:cNvSpPr txBox="1">
            <a:spLocks noGrp="1"/>
          </p:cNvSpPr>
          <p:nvPr>
            <p:ph type="title"/>
          </p:nvPr>
        </p:nvSpPr>
        <p:spPr>
          <a:xfrm>
            <a:off x="510810" y="2684611"/>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400"/>
              <a:buFont typeface="Arial Narrow"/>
              <a:buNone/>
              <a:defRPr sz="4400" b="1">
                <a:solidFill>
                  <a:schemeClr val="lt1"/>
                </a:solidFill>
                <a:latin typeface="Arial Narrow"/>
                <a:ea typeface="Arial Narrow"/>
                <a:cs typeface="Arial Narrow"/>
                <a:sym typeface="Arial Narrow"/>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12"/>
          <p:cNvSpPr txBox="1">
            <a:spLocks noGrp="1"/>
          </p:cNvSpPr>
          <p:nvPr>
            <p:ph type="sldNum" idx="12"/>
          </p:nvPr>
        </p:nvSpPr>
        <p:spPr>
          <a:xfrm>
            <a:off x="9004365" y="5913465"/>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grpSp>
        <p:nvGrpSpPr>
          <p:cNvPr id="23" name="Google Shape;23;p12"/>
          <p:cNvGrpSpPr/>
          <p:nvPr/>
        </p:nvGrpSpPr>
        <p:grpSpPr>
          <a:xfrm>
            <a:off x="376730" y="6299850"/>
            <a:ext cx="10528875" cy="434026"/>
            <a:chOff x="376730" y="6299850"/>
            <a:chExt cx="10528875" cy="434026"/>
          </a:xfrm>
        </p:grpSpPr>
        <p:cxnSp>
          <p:nvCxnSpPr>
            <p:cNvPr id="24" name="Google Shape;24;p12"/>
            <p:cNvCxnSpPr/>
            <p:nvPr/>
          </p:nvCxnSpPr>
          <p:spPr>
            <a:xfrm>
              <a:off x="3161712" y="6544331"/>
              <a:ext cx="7528123" cy="0"/>
            </a:xfrm>
            <a:prstGeom prst="straightConnector1">
              <a:avLst/>
            </a:prstGeom>
            <a:noFill/>
            <a:ln w="9525" cap="flat" cmpd="sng">
              <a:solidFill>
                <a:schemeClr val="lt1"/>
              </a:solidFill>
              <a:prstDash val="solid"/>
              <a:miter lim="800000"/>
              <a:headEnd type="none" w="sm" len="sm"/>
              <a:tailEnd type="none" w="sm" len="sm"/>
            </a:ln>
          </p:spPr>
        </p:cxnSp>
        <p:sp>
          <p:nvSpPr>
            <p:cNvPr id="25" name="Google Shape;25;p12"/>
            <p:cNvSpPr txBox="1"/>
            <p:nvPr/>
          </p:nvSpPr>
          <p:spPr>
            <a:xfrm>
              <a:off x="376730" y="6405832"/>
              <a:ext cx="286373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0" i="0">
                  <a:solidFill>
                    <a:schemeClr val="lt1"/>
                  </a:solidFill>
                  <a:latin typeface="Calibri"/>
                  <a:ea typeface="Calibri"/>
                  <a:cs typeface="Calibri"/>
                  <a:sym typeface="Calibri"/>
                </a:rPr>
                <a:t>© 2021 Jigsaw Academy Education Pvt Ltd.</a:t>
              </a:r>
              <a:endParaRPr/>
            </a:p>
          </p:txBody>
        </p:sp>
        <p:cxnSp>
          <p:nvCxnSpPr>
            <p:cNvPr id="26" name="Google Shape;26;p12"/>
            <p:cNvCxnSpPr/>
            <p:nvPr/>
          </p:nvCxnSpPr>
          <p:spPr>
            <a:xfrm>
              <a:off x="10905605" y="6299850"/>
              <a:ext cx="0" cy="434026"/>
            </a:xfrm>
            <a:prstGeom prst="straightConnector1">
              <a:avLst/>
            </a:prstGeom>
            <a:noFill/>
            <a:ln w="9525" cap="flat" cmpd="sng">
              <a:solidFill>
                <a:srgbClr val="F2F2F2"/>
              </a:solidFill>
              <a:prstDash val="solid"/>
              <a:miter lim="800000"/>
              <a:headEnd type="none" w="sm" len="sm"/>
              <a:tailEnd type="none" w="sm" len="sm"/>
            </a:ln>
          </p:spPr>
        </p:cxnSp>
      </p:grpSp>
      <p:pic>
        <p:nvPicPr>
          <p:cNvPr id="27" name="Google Shape;27;p12" descr="Indian Institute of Management Indore - Wikipedia"/>
          <p:cNvPicPr preferRelativeResize="0"/>
          <p:nvPr/>
        </p:nvPicPr>
        <p:blipFill rotWithShape="1">
          <a:blip r:embed="rId3">
            <a:alphaModFix/>
          </a:blip>
          <a:srcRect/>
          <a:stretch/>
        </p:blipFill>
        <p:spPr>
          <a:xfrm>
            <a:off x="88957" y="75842"/>
            <a:ext cx="411718" cy="663913"/>
          </a:xfrm>
          <a:prstGeom prst="rect">
            <a:avLst/>
          </a:prstGeom>
          <a:noFill/>
          <a:ln>
            <a:noFill/>
          </a:ln>
        </p:spPr>
      </p:pic>
      <p:pic>
        <p:nvPicPr>
          <p:cNvPr id="28" name="Google Shape;28;p12" descr="Logo&#10;&#10;Description automatically generated with medium confidence"/>
          <p:cNvPicPr preferRelativeResize="0"/>
          <p:nvPr/>
        </p:nvPicPr>
        <p:blipFill rotWithShape="1">
          <a:blip r:embed="rId4">
            <a:alphaModFix/>
          </a:blip>
          <a:srcRect/>
          <a:stretch/>
        </p:blipFill>
        <p:spPr>
          <a:xfrm>
            <a:off x="10689835" y="6353816"/>
            <a:ext cx="1057729" cy="504184"/>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ntent Slide">
  <p:cSld name="Content Slide">
    <p:spTree>
      <p:nvGrpSpPr>
        <p:cNvPr id="1" name="Shape 29"/>
        <p:cNvGrpSpPr/>
        <p:nvPr/>
      </p:nvGrpSpPr>
      <p:grpSpPr>
        <a:xfrm>
          <a:off x="0" y="0"/>
          <a:ext cx="0" cy="0"/>
          <a:chOff x="0" y="0"/>
          <a:chExt cx="0" cy="0"/>
        </a:xfrm>
      </p:grpSpPr>
      <p:sp>
        <p:nvSpPr>
          <p:cNvPr id="30" name="Google Shape;30;p13"/>
          <p:cNvSpPr txBox="1">
            <a:spLocks noGrp="1"/>
          </p:cNvSpPr>
          <p:nvPr>
            <p:ph type="dt" idx="10"/>
          </p:nvPr>
        </p:nvSpPr>
        <p:spPr>
          <a:xfrm>
            <a:off x="464120" y="58506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13"/>
          <p:cNvSpPr txBox="1">
            <a:spLocks noGrp="1"/>
          </p:cNvSpPr>
          <p:nvPr>
            <p:ph type="ftr" idx="11"/>
          </p:nvPr>
        </p:nvSpPr>
        <p:spPr>
          <a:xfrm>
            <a:off x="4048442" y="5881608"/>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13"/>
          <p:cNvSpPr txBox="1">
            <a:spLocks noGrp="1"/>
          </p:cNvSpPr>
          <p:nvPr>
            <p:ph type="sldNum" idx="12"/>
          </p:nvPr>
        </p:nvSpPr>
        <p:spPr>
          <a:xfrm>
            <a:off x="9004364" y="588485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3" name="Google Shape;33;p13"/>
          <p:cNvSpPr txBox="1">
            <a:spLocks noGrp="1"/>
          </p:cNvSpPr>
          <p:nvPr>
            <p:ph type="body" idx="1"/>
          </p:nvPr>
        </p:nvSpPr>
        <p:spPr>
          <a:xfrm>
            <a:off x="463550" y="2155178"/>
            <a:ext cx="11260279" cy="3576431"/>
          </a:xfrm>
          <a:prstGeom prst="rect">
            <a:avLst/>
          </a:prstGeom>
          <a:noFill/>
          <a:ln>
            <a:noFill/>
          </a:ln>
        </p:spPr>
        <p:txBody>
          <a:bodyPr spcFirstLastPara="1" wrap="square" lIns="91425" tIns="45700" rIns="91425" bIns="45700" anchor="t" anchorCtr="0">
            <a:normAutofit/>
          </a:bodyPr>
          <a:lstStyle>
            <a:lvl1pPr marL="457200" lvl="0" indent="-330200" algn="l">
              <a:lnSpc>
                <a:spcPct val="90000"/>
              </a:lnSpc>
              <a:spcBef>
                <a:spcPts val="1000"/>
              </a:spcBef>
              <a:spcAft>
                <a:spcPts val="0"/>
              </a:spcAft>
              <a:buClr>
                <a:srgbClr val="262626"/>
              </a:buClr>
              <a:buSzPts val="1600"/>
              <a:buFont typeface="Calibri"/>
              <a:buChar char="•"/>
              <a:defRPr sz="1600">
                <a:solidFill>
                  <a:srgbClr val="262626"/>
                </a:solidFill>
              </a:defRPr>
            </a:lvl1pPr>
            <a:lvl2pPr marL="914400" lvl="1" indent="-330200" algn="l">
              <a:lnSpc>
                <a:spcPct val="90000"/>
              </a:lnSpc>
              <a:spcBef>
                <a:spcPts val="500"/>
              </a:spcBef>
              <a:spcAft>
                <a:spcPts val="0"/>
              </a:spcAft>
              <a:buClr>
                <a:srgbClr val="262626"/>
              </a:buClr>
              <a:buSzPts val="1600"/>
              <a:buFont typeface="Calibri"/>
              <a:buChar char="•"/>
              <a:defRPr sz="16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13"/>
          <p:cNvSpPr txBox="1">
            <a:spLocks noGrp="1"/>
          </p:cNvSpPr>
          <p:nvPr>
            <p:ph type="body" idx="2"/>
          </p:nvPr>
        </p:nvSpPr>
        <p:spPr>
          <a:xfrm>
            <a:off x="463549" y="1363083"/>
            <a:ext cx="11260279" cy="602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62626"/>
              </a:buClr>
              <a:buSzPts val="2400"/>
              <a:buFont typeface="Arial"/>
              <a:buNone/>
              <a:defRPr sz="2400">
                <a:solidFill>
                  <a:srgbClr val="262626"/>
                </a:solidFill>
                <a:latin typeface="Arial Narrow"/>
                <a:ea typeface="Arial Narrow"/>
                <a:cs typeface="Arial Narrow"/>
                <a:sym typeface="Arial Narrow"/>
              </a:defRPr>
            </a:lvl1pPr>
            <a:lvl2pPr marL="914400" lvl="1" indent="-355600" algn="l">
              <a:lnSpc>
                <a:spcPct val="90000"/>
              </a:lnSpc>
              <a:spcBef>
                <a:spcPts val="500"/>
              </a:spcBef>
              <a:spcAft>
                <a:spcPts val="0"/>
              </a:spcAft>
              <a:buClr>
                <a:srgbClr val="262626"/>
              </a:buClr>
              <a:buSzPts val="2000"/>
              <a:buFont typeface="Calibri"/>
              <a:buChar char="•"/>
              <a:defRPr sz="20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5" name="Google Shape;35;p13"/>
          <p:cNvGrpSpPr/>
          <p:nvPr/>
        </p:nvGrpSpPr>
        <p:grpSpPr>
          <a:xfrm>
            <a:off x="376730" y="6405832"/>
            <a:ext cx="10131613" cy="276999"/>
            <a:chOff x="376730" y="6405832"/>
            <a:chExt cx="10131613" cy="276999"/>
          </a:xfrm>
        </p:grpSpPr>
        <p:cxnSp>
          <p:nvCxnSpPr>
            <p:cNvPr id="36" name="Google Shape;36;p13"/>
            <p:cNvCxnSpPr/>
            <p:nvPr/>
          </p:nvCxnSpPr>
          <p:spPr>
            <a:xfrm>
              <a:off x="3161712" y="6544331"/>
              <a:ext cx="7346631" cy="0"/>
            </a:xfrm>
            <a:prstGeom prst="straightConnector1">
              <a:avLst/>
            </a:prstGeom>
            <a:noFill/>
            <a:ln w="9525" cap="flat" cmpd="sng">
              <a:solidFill>
                <a:srgbClr val="00A0CC"/>
              </a:solidFill>
              <a:prstDash val="solid"/>
              <a:miter lim="800000"/>
              <a:headEnd type="none" w="sm" len="sm"/>
              <a:tailEnd type="none" w="sm" len="sm"/>
            </a:ln>
          </p:spPr>
        </p:cxnSp>
        <p:sp>
          <p:nvSpPr>
            <p:cNvPr id="37" name="Google Shape;37;p13"/>
            <p:cNvSpPr txBox="1"/>
            <p:nvPr/>
          </p:nvSpPr>
          <p:spPr>
            <a:xfrm>
              <a:off x="376730" y="6405832"/>
              <a:ext cx="286373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0" i="0">
                  <a:solidFill>
                    <a:schemeClr val="dk1"/>
                  </a:solidFill>
                  <a:latin typeface="Calibri"/>
                  <a:ea typeface="Calibri"/>
                  <a:cs typeface="Calibri"/>
                  <a:sym typeface="Calibri"/>
                </a:rPr>
                <a:t>© 2021 Jigsaw Academy Education Pvt Ltd.</a:t>
              </a:r>
              <a:endParaRPr/>
            </a:p>
          </p:txBody>
        </p:sp>
      </p:grpSp>
      <p:sp>
        <p:nvSpPr>
          <p:cNvPr id="38" name="Google Shape;38;p13"/>
          <p:cNvSpPr txBox="1">
            <a:spLocks noGrp="1"/>
          </p:cNvSpPr>
          <p:nvPr>
            <p:ph type="title"/>
          </p:nvPr>
        </p:nvSpPr>
        <p:spPr>
          <a:xfrm>
            <a:off x="463550" y="478702"/>
            <a:ext cx="11260278" cy="71321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3600"/>
              <a:buFont typeface="Arial Narrow"/>
              <a:buNone/>
              <a:defRPr sz="3600">
                <a:solidFill>
                  <a:srgbClr val="262626"/>
                </a:solidFill>
                <a:latin typeface="Arial Narrow"/>
                <a:ea typeface="Arial Narrow"/>
                <a:cs typeface="Arial Narrow"/>
                <a:sym typeface="Arial Narrow"/>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9" name="Google Shape;39;p13" descr="Indian Institute of Management Indore - Wikipedia"/>
          <p:cNvPicPr preferRelativeResize="0"/>
          <p:nvPr/>
        </p:nvPicPr>
        <p:blipFill rotWithShape="1">
          <a:blip r:embed="rId2">
            <a:alphaModFix/>
          </a:blip>
          <a:srcRect/>
          <a:stretch/>
        </p:blipFill>
        <p:spPr>
          <a:xfrm>
            <a:off x="88957" y="75842"/>
            <a:ext cx="411718" cy="663913"/>
          </a:xfrm>
          <a:prstGeom prst="rect">
            <a:avLst/>
          </a:prstGeom>
          <a:noFill/>
          <a:ln>
            <a:noFill/>
          </a:ln>
        </p:spPr>
      </p:pic>
      <p:pic>
        <p:nvPicPr>
          <p:cNvPr id="40" name="Google Shape;40;p13" descr="Logo&#10;&#10;Description automatically generated with medium confidence"/>
          <p:cNvPicPr preferRelativeResize="0"/>
          <p:nvPr/>
        </p:nvPicPr>
        <p:blipFill rotWithShape="1">
          <a:blip r:embed="rId3">
            <a:alphaModFix/>
          </a:blip>
          <a:srcRect/>
          <a:stretch/>
        </p:blipFill>
        <p:spPr>
          <a:xfrm>
            <a:off x="10689835" y="6353816"/>
            <a:ext cx="1057729" cy="504184"/>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Image Slide_1">
  <p:cSld name="Image Slide_1">
    <p:spTree>
      <p:nvGrpSpPr>
        <p:cNvPr id="1" name="Shape 41"/>
        <p:cNvGrpSpPr/>
        <p:nvPr/>
      </p:nvGrpSpPr>
      <p:grpSpPr>
        <a:xfrm>
          <a:off x="0" y="0"/>
          <a:ext cx="0" cy="0"/>
          <a:chOff x="0" y="0"/>
          <a:chExt cx="0" cy="0"/>
        </a:xfrm>
      </p:grpSpPr>
      <p:sp>
        <p:nvSpPr>
          <p:cNvPr id="42" name="Google Shape;42;p14"/>
          <p:cNvSpPr>
            <a:spLocks noGrp="1"/>
          </p:cNvSpPr>
          <p:nvPr>
            <p:ph type="pic" idx="2"/>
          </p:nvPr>
        </p:nvSpPr>
        <p:spPr>
          <a:xfrm>
            <a:off x="8451914" y="2158426"/>
            <a:ext cx="3295650" cy="3138732"/>
          </a:xfrm>
          <a:prstGeom prst="rect">
            <a:avLst/>
          </a:prstGeom>
          <a:noFill/>
          <a:ln>
            <a:noFill/>
          </a:ln>
        </p:spPr>
      </p:sp>
      <p:sp>
        <p:nvSpPr>
          <p:cNvPr id="43" name="Google Shape;43;p14"/>
          <p:cNvSpPr txBox="1">
            <a:spLocks noGrp="1"/>
          </p:cNvSpPr>
          <p:nvPr>
            <p:ph type="body" idx="1"/>
          </p:nvPr>
        </p:nvSpPr>
        <p:spPr>
          <a:xfrm>
            <a:off x="463550" y="2155178"/>
            <a:ext cx="7439371" cy="3156001"/>
          </a:xfrm>
          <a:prstGeom prst="rect">
            <a:avLst/>
          </a:prstGeom>
          <a:noFill/>
          <a:ln>
            <a:noFill/>
          </a:ln>
        </p:spPr>
        <p:txBody>
          <a:bodyPr spcFirstLastPara="1" wrap="square" lIns="91425" tIns="45700" rIns="91425" bIns="45700" anchor="t" anchorCtr="0">
            <a:normAutofit/>
          </a:bodyPr>
          <a:lstStyle>
            <a:lvl1pPr marL="457200" lvl="0" indent="-330200" algn="l">
              <a:lnSpc>
                <a:spcPct val="90000"/>
              </a:lnSpc>
              <a:spcBef>
                <a:spcPts val="1000"/>
              </a:spcBef>
              <a:spcAft>
                <a:spcPts val="0"/>
              </a:spcAft>
              <a:buClr>
                <a:srgbClr val="262626"/>
              </a:buClr>
              <a:buSzPts val="1600"/>
              <a:buFont typeface="Calibri"/>
              <a:buChar char="•"/>
              <a:defRPr sz="1600">
                <a:solidFill>
                  <a:srgbClr val="262626"/>
                </a:solidFill>
              </a:defRPr>
            </a:lvl1pPr>
            <a:lvl2pPr marL="914400" lvl="1" indent="-330200" algn="l">
              <a:lnSpc>
                <a:spcPct val="90000"/>
              </a:lnSpc>
              <a:spcBef>
                <a:spcPts val="500"/>
              </a:spcBef>
              <a:spcAft>
                <a:spcPts val="0"/>
              </a:spcAft>
              <a:buClr>
                <a:srgbClr val="262626"/>
              </a:buClr>
              <a:buSzPts val="1600"/>
              <a:buFont typeface="Calibri"/>
              <a:buChar char="•"/>
              <a:defRPr sz="16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14"/>
          <p:cNvSpPr txBox="1">
            <a:spLocks noGrp="1"/>
          </p:cNvSpPr>
          <p:nvPr>
            <p:ph type="dt" idx="10"/>
          </p:nvPr>
        </p:nvSpPr>
        <p:spPr>
          <a:xfrm>
            <a:off x="464120" y="58506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14"/>
          <p:cNvSpPr txBox="1">
            <a:spLocks noGrp="1"/>
          </p:cNvSpPr>
          <p:nvPr>
            <p:ph type="ftr" idx="11"/>
          </p:nvPr>
        </p:nvSpPr>
        <p:spPr>
          <a:xfrm>
            <a:off x="4048442" y="5881608"/>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14"/>
          <p:cNvSpPr txBox="1">
            <a:spLocks noGrp="1"/>
          </p:cNvSpPr>
          <p:nvPr>
            <p:ph type="sldNum" idx="12"/>
          </p:nvPr>
        </p:nvSpPr>
        <p:spPr>
          <a:xfrm>
            <a:off x="9004364" y="588485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7" name="Google Shape;47;p14"/>
          <p:cNvSpPr txBox="1">
            <a:spLocks noGrp="1"/>
          </p:cNvSpPr>
          <p:nvPr>
            <p:ph type="body" idx="3"/>
          </p:nvPr>
        </p:nvSpPr>
        <p:spPr>
          <a:xfrm>
            <a:off x="463549" y="1363083"/>
            <a:ext cx="11260279" cy="602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62626"/>
              </a:buClr>
              <a:buSzPts val="2400"/>
              <a:buFont typeface="Arial"/>
              <a:buNone/>
              <a:defRPr sz="2400">
                <a:solidFill>
                  <a:srgbClr val="262626"/>
                </a:solidFill>
                <a:latin typeface="Arial Narrow"/>
                <a:ea typeface="Arial Narrow"/>
                <a:cs typeface="Arial Narrow"/>
                <a:sym typeface="Arial Narrow"/>
              </a:defRPr>
            </a:lvl1pPr>
            <a:lvl2pPr marL="914400" lvl="1" indent="-355600" algn="l">
              <a:lnSpc>
                <a:spcPct val="90000"/>
              </a:lnSpc>
              <a:spcBef>
                <a:spcPts val="500"/>
              </a:spcBef>
              <a:spcAft>
                <a:spcPts val="0"/>
              </a:spcAft>
              <a:buClr>
                <a:srgbClr val="262626"/>
              </a:buClr>
              <a:buSzPts val="2000"/>
              <a:buFont typeface="Calibri"/>
              <a:buChar char="•"/>
              <a:defRPr sz="20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14"/>
          <p:cNvSpPr txBox="1">
            <a:spLocks noGrp="1"/>
          </p:cNvSpPr>
          <p:nvPr>
            <p:ph type="title"/>
          </p:nvPr>
        </p:nvSpPr>
        <p:spPr>
          <a:xfrm>
            <a:off x="463550" y="478702"/>
            <a:ext cx="11260278" cy="71321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3600"/>
              <a:buFont typeface="Arial Narrow"/>
              <a:buNone/>
              <a:defRPr sz="3600">
                <a:solidFill>
                  <a:srgbClr val="262626"/>
                </a:solidFill>
                <a:latin typeface="Arial Narrow"/>
                <a:ea typeface="Arial Narrow"/>
                <a:cs typeface="Arial Narrow"/>
                <a:sym typeface="Arial Narrow"/>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9" name="Google Shape;49;p14" descr="Logo&#10;&#10;Description automatically generated with medium confidence"/>
          <p:cNvPicPr preferRelativeResize="0"/>
          <p:nvPr/>
        </p:nvPicPr>
        <p:blipFill rotWithShape="1">
          <a:blip r:embed="rId2">
            <a:alphaModFix/>
          </a:blip>
          <a:srcRect/>
          <a:stretch/>
        </p:blipFill>
        <p:spPr>
          <a:xfrm>
            <a:off x="10689835" y="6353816"/>
            <a:ext cx="1057729" cy="504184"/>
          </a:xfrm>
          <a:prstGeom prst="rect">
            <a:avLst/>
          </a:prstGeom>
          <a:noFill/>
          <a:ln>
            <a:noFill/>
          </a:ln>
        </p:spPr>
      </p:pic>
      <p:grpSp>
        <p:nvGrpSpPr>
          <p:cNvPr id="50" name="Google Shape;50;p14"/>
          <p:cNvGrpSpPr/>
          <p:nvPr/>
        </p:nvGrpSpPr>
        <p:grpSpPr>
          <a:xfrm>
            <a:off x="376730" y="6405832"/>
            <a:ext cx="10131613" cy="276999"/>
            <a:chOff x="376730" y="6405832"/>
            <a:chExt cx="10131613" cy="276999"/>
          </a:xfrm>
        </p:grpSpPr>
        <p:cxnSp>
          <p:nvCxnSpPr>
            <p:cNvPr id="51" name="Google Shape;51;p14"/>
            <p:cNvCxnSpPr/>
            <p:nvPr/>
          </p:nvCxnSpPr>
          <p:spPr>
            <a:xfrm>
              <a:off x="3161712" y="6544331"/>
              <a:ext cx="7346631" cy="0"/>
            </a:xfrm>
            <a:prstGeom prst="straightConnector1">
              <a:avLst/>
            </a:prstGeom>
            <a:noFill/>
            <a:ln w="9525" cap="flat" cmpd="sng">
              <a:solidFill>
                <a:srgbClr val="00A0CC"/>
              </a:solidFill>
              <a:prstDash val="solid"/>
              <a:miter lim="800000"/>
              <a:headEnd type="none" w="sm" len="sm"/>
              <a:tailEnd type="none" w="sm" len="sm"/>
            </a:ln>
          </p:spPr>
        </p:cxnSp>
        <p:sp>
          <p:nvSpPr>
            <p:cNvPr id="52" name="Google Shape;52;p14"/>
            <p:cNvSpPr txBox="1"/>
            <p:nvPr/>
          </p:nvSpPr>
          <p:spPr>
            <a:xfrm>
              <a:off x="376730" y="6405832"/>
              <a:ext cx="286373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0" i="0">
                  <a:solidFill>
                    <a:schemeClr val="dk1"/>
                  </a:solidFill>
                  <a:latin typeface="Calibri"/>
                  <a:ea typeface="Calibri"/>
                  <a:cs typeface="Calibri"/>
                  <a:sym typeface="Calibri"/>
                </a:rPr>
                <a:t>© 2021 Jigsaw Academy Education Pvt Ltd.</a:t>
              </a:r>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Image Slide_2">
  <p:cSld name="Image Slide_2">
    <p:spTree>
      <p:nvGrpSpPr>
        <p:cNvPr id="1" name="Shape 53"/>
        <p:cNvGrpSpPr/>
        <p:nvPr/>
      </p:nvGrpSpPr>
      <p:grpSpPr>
        <a:xfrm>
          <a:off x="0" y="0"/>
          <a:ext cx="0" cy="0"/>
          <a:chOff x="0" y="0"/>
          <a:chExt cx="0" cy="0"/>
        </a:xfrm>
      </p:grpSpPr>
      <p:sp>
        <p:nvSpPr>
          <p:cNvPr id="54" name="Google Shape;54;p15"/>
          <p:cNvSpPr>
            <a:spLocks noGrp="1"/>
          </p:cNvSpPr>
          <p:nvPr>
            <p:ph type="pic" idx="2"/>
          </p:nvPr>
        </p:nvSpPr>
        <p:spPr>
          <a:xfrm>
            <a:off x="463550" y="2155178"/>
            <a:ext cx="3295650" cy="3156004"/>
          </a:xfrm>
          <a:prstGeom prst="rect">
            <a:avLst/>
          </a:prstGeom>
          <a:noFill/>
          <a:ln>
            <a:noFill/>
          </a:ln>
        </p:spPr>
      </p:sp>
      <p:sp>
        <p:nvSpPr>
          <p:cNvPr id="55" name="Google Shape;55;p15"/>
          <p:cNvSpPr txBox="1">
            <a:spLocks noGrp="1"/>
          </p:cNvSpPr>
          <p:nvPr>
            <p:ph type="body" idx="1"/>
          </p:nvPr>
        </p:nvSpPr>
        <p:spPr>
          <a:xfrm>
            <a:off x="4308763" y="2155178"/>
            <a:ext cx="7439371" cy="3156001"/>
          </a:xfrm>
          <a:prstGeom prst="rect">
            <a:avLst/>
          </a:prstGeom>
          <a:noFill/>
          <a:ln>
            <a:noFill/>
          </a:ln>
        </p:spPr>
        <p:txBody>
          <a:bodyPr spcFirstLastPara="1" wrap="square" lIns="91425" tIns="45700" rIns="91425" bIns="45700" anchor="t" anchorCtr="0">
            <a:normAutofit/>
          </a:bodyPr>
          <a:lstStyle>
            <a:lvl1pPr marL="457200" lvl="0" indent="-330200" algn="l">
              <a:lnSpc>
                <a:spcPct val="90000"/>
              </a:lnSpc>
              <a:spcBef>
                <a:spcPts val="1000"/>
              </a:spcBef>
              <a:spcAft>
                <a:spcPts val="0"/>
              </a:spcAft>
              <a:buClr>
                <a:srgbClr val="262626"/>
              </a:buClr>
              <a:buSzPts val="1600"/>
              <a:buFont typeface="Calibri"/>
              <a:buChar char="•"/>
              <a:defRPr sz="1600">
                <a:solidFill>
                  <a:srgbClr val="262626"/>
                </a:solidFill>
              </a:defRPr>
            </a:lvl1pPr>
            <a:lvl2pPr marL="914400" lvl="1" indent="-330200" algn="l">
              <a:lnSpc>
                <a:spcPct val="90000"/>
              </a:lnSpc>
              <a:spcBef>
                <a:spcPts val="500"/>
              </a:spcBef>
              <a:spcAft>
                <a:spcPts val="0"/>
              </a:spcAft>
              <a:buClr>
                <a:srgbClr val="262626"/>
              </a:buClr>
              <a:buSzPts val="1600"/>
              <a:buFont typeface="Calibri"/>
              <a:buChar char="•"/>
              <a:defRPr sz="16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15"/>
          <p:cNvSpPr txBox="1">
            <a:spLocks noGrp="1"/>
          </p:cNvSpPr>
          <p:nvPr>
            <p:ph type="body" idx="3"/>
          </p:nvPr>
        </p:nvSpPr>
        <p:spPr>
          <a:xfrm>
            <a:off x="463549" y="1363083"/>
            <a:ext cx="11260279" cy="602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62626"/>
              </a:buClr>
              <a:buSzPts val="2400"/>
              <a:buFont typeface="Arial"/>
              <a:buNone/>
              <a:defRPr sz="2400">
                <a:solidFill>
                  <a:srgbClr val="262626"/>
                </a:solidFill>
                <a:latin typeface="Arial Narrow"/>
                <a:ea typeface="Arial Narrow"/>
                <a:cs typeface="Arial Narrow"/>
                <a:sym typeface="Arial Narrow"/>
              </a:defRPr>
            </a:lvl1pPr>
            <a:lvl2pPr marL="914400" lvl="1" indent="-355600" algn="l">
              <a:lnSpc>
                <a:spcPct val="90000"/>
              </a:lnSpc>
              <a:spcBef>
                <a:spcPts val="500"/>
              </a:spcBef>
              <a:spcAft>
                <a:spcPts val="0"/>
              </a:spcAft>
              <a:buClr>
                <a:srgbClr val="262626"/>
              </a:buClr>
              <a:buSzPts val="2000"/>
              <a:buFont typeface="Calibri"/>
              <a:buChar char="•"/>
              <a:defRPr sz="20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 name="Google Shape;57;p15"/>
          <p:cNvSpPr txBox="1">
            <a:spLocks noGrp="1"/>
          </p:cNvSpPr>
          <p:nvPr>
            <p:ph type="dt" idx="10"/>
          </p:nvPr>
        </p:nvSpPr>
        <p:spPr>
          <a:xfrm>
            <a:off x="464120" y="58506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15"/>
          <p:cNvSpPr txBox="1">
            <a:spLocks noGrp="1"/>
          </p:cNvSpPr>
          <p:nvPr>
            <p:ph type="ftr" idx="11"/>
          </p:nvPr>
        </p:nvSpPr>
        <p:spPr>
          <a:xfrm>
            <a:off x="4048442" y="5881608"/>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15"/>
          <p:cNvSpPr txBox="1">
            <a:spLocks noGrp="1"/>
          </p:cNvSpPr>
          <p:nvPr>
            <p:ph type="sldNum" idx="12"/>
          </p:nvPr>
        </p:nvSpPr>
        <p:spPr>
          <a:xfrm>
            <a:off x="9004364" y="588485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60" name="Google Shape;60;p15"/>
          <p:cNvSpPr txBox="1">
            <a:spLocks noGrp="1"/>
          </p:cNvSpPr>
          <p:nvPr>
            <p:ph type="title"/>
          </p:nvPr>
        </p:nvSpPr>
        <p:spPr>
          <a:xfrm>
            <a:off x="463550" y="478702"/>
            <a:ext cx="11260278" cy="71321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3600"/>
              <a:buFont typeface="Arial Narrow"/>
              <a:buNone/>
              <a:defRPr sz="3600">
                <a:solidFill>
                  <a:srgbClr val="262626"/>
                </a:solidFill>
                <a:latin typeface="Arial Narrow"/>
                <a:ea typeface="Arial Narrow"/>
                <a:cs typeface="Arial Narrow"/>
                <a:sym typeface="Arial Narrow"/>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1" name="Google Shape;61;p15" descr="Logo&#10;&#10;Description automatically generated with medium confidence"/>
          <p:cNvPicPr preferRelativeResize="0"/>
          <p:nvPr/>
        </p:nvPicPr>
        <p:blipFill rotWithShape="1">
          <a:blip r:embed="rId2">
            <a:alphaModFix/>
          </a:blip>
          <a:srcRect/>
          <a:stretch/>
        </p:blipFill>
        <p:spPr>
          <a:xfrm>
            <a:off x="10689835" y="6353816"/>
            <a:ext cx="1057729" cy="504184"/>
          </a:xfrm>
          <a:prstGeom prst="rect">
            <a:avLst/>
          </a:prstGeom>
          <a:noFill/>
          <a:ln>
            <a:noFill/>
          </a:ln>
        </p:spPr>
      </p:pic>
      <p:grpSp>
        <p:nvGrpSpPr>
          <p:cNvPr id="62" name="Google Shape;62;p15"/>
          <p:cNvGrpSpPr/>
          <p:nvPr/>
        </p:nvGrpSpPr>
        <p:grpSpPr>
          <a:xfrm>
            <a:off x="376730" y="6405832"/>
            <a:ext cx="10131613" cy="276999"/>
            <a:chOff x="376730" y="6405832"/>
            <a:chExt cx="10131613" cy="276999"/>
          </a:xfrm>
        </p:grpSpPr>
        <p:cxnSp>
          <p:nvCxnSpPr>
            <p:cNvPr id="63" name="Google Shape;63;p15"/>
            <p:cNvCxnSpPr/>
            <p:nvPr/>
          </p:nvCxnSpPr>
          <p:spPr>
            <a:xfrm>
              <a:off x="3161712" y="6544331"/>
              <a:ext cx="7346631" cy="0"/>
            </a:xfrm>
            <a:prstGeom prst="straightConnector1">
              <a:avLst/>
            </a:prstGeom>
            <a:noFill/>
            <a:ln w="9525" cap="flat" cmpd="sng">
              <a:solidFill>
                <a:srgbClr val="00A0CC"/>
              </a:solidFill>
              <a:prstDash val="solid"/>
              <a:miter lim="800000"/>
              <a:headEnd type="none" w="sm" len="sm"/>
              <a:tailEnd type="none" w="sm" len="sm"/>
            </a:ln>
          </p:spPr>
        </p:cxnSp>
        <p:sp>
          <p:nvSpPr>
            <p:cNvPr id="64" name="Google Shape;64;p15"/>
            <p:cNvSpPr txBox="1"/>
            <p:nvPr/>
          </p:nvSpPr>
          <p:spPr>
            <a:xfrm>
              <a:off x="376730" y="6405832"/>
              <a:ext cx="286373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0" i="0">
                  <a:solidFill>
                    <a:schemeClr val="dk1"/>
                  </a:solidFill>
                  <a:latin typeface="Calibri"/>
                  <a:ea typeface="Calibri"/>
                  <a:cs typeface="Calibri"/>
                  <a:sym typeface="Calibri"/>
                </a:rPr>
                <a:t>© 2021 Jigsaw Academy Education Pvt Ltd.</a:t>
              </a:r>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Icon Slide_1">
  <p:cSld name="Icon Slide_1">
    <p:spTree>
      <p:nvGrpSpPr>
        <p:cNvPr id="1" name="Shape 65"/>
        <p:cNvGrpSpPr/>
        <p:nvPr/>
      </p:nvGrpSpPr>
      <p:grpSpPr>
        <a:xfrm>
          <a:off x="0" y="0"/>
          <a:ext cx="0" cy="0"/>
          <a:chOff x="0" y="0"/>
          <a:chExt cx="0" cy="0"/>
        </a:xfrm>
      </p:grpSpPr>
      <p:sp>
        <p:nvSpPr>
          <p:cNvPr id="66" name="Google Shape;66;p16"/>
          <p:cNvSpPr>
            <a:spLocks noGrp="1"/>
          </p:cNvSpPr>
          <p:nvPr>
            <p:ph type="pic" idx="2"/>
          </p:nvPr>
        </p:nvSpPr>
        <p:spPr>
          <a:xfrm>
            <a:off x="657513" y="2737918"/>
            <a:ext cx="1212850" cy="977390"/>
          </a:xfrm>
          <a:prstGeom prst="rect">
            <a:avLst/>
          </a:prstGeom>
          <a:noFill/>
          <a:ln>
            <a:noFill/>
          </a:ln>
        </p:spPr>
      </p:sp>
      <p:sp>
        <p:nvSpPr>
          <p:cNvPr id="67" name="Google Shape;67;p16"/>
          <p:cNvSpPr txBox="1">
            <a:spLocks noGrp="1"/>
          </p:cNvSpPr>
          <p:nvPr>
            <p:ph type="body" idx="1"/>
          </p:nvPr>
        </p:nvSpPr>
        <p:spPr>
          <a:xfrm>
            <a:off x="463549" y="4080356"/>
            <a:ext cx="1711044" cy="914400"/>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rgbClr val="262626"/>
              </a:buClr>
              <a:buSzPts val="1600"/>
              <a:buNone/>
              <a:defRPr sz="1600">
                <a:solidFill>
                  <a:srgbClr val="262626"/>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 name="Google Shape;68;p16"/>
          <p:cNvSpPr txBox="1">
            <a:spLocks noGrp="1"/>
          </p:cNvSpPr>
          <p:nvPr>
            <p:ph type="body" idx="3"/>
          </p:nvPr>
        </p:nvSpPr>
        <p:spPr>
          <a:xfrm>
            <a:off x="2747754" y="4077042"/>
            <a:ext cx="1711044" cy="914400"/>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rgbClr val="262626"/>
              </a:buClr>
              <a:buSzPts val="1600"/>
              <a:buNone/>
              <a:defRPr sz="1600">
                <a:solidFill>
                  <a:srgbClr val="262626"/>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 name="Google Shape;69;p16"/>
          <p:cNvSpPr txBox="1">
            <a:spLocks noGrp="1"/>
          </p:cNvSpPr>
          <p:nvPr>
            <p:ph type="body" idx="4"/>
          </p:nvPr>
        </p:nvSpPr>
        <p:spPr>
          <a:xfrm>
            <a:off x="5031959" y="4073728"/>
            <a:ext cx="1711044" cy="914400"/>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rgbClr val="262626"/>
              </a:buClr>
              <a:buSzPts val="1600"/>
              <a:buNone/>
              <a:defRPr sz="1600">
                <a:solidFill>
                  <a:srgbClr val="262626"/>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 name="Google Shape;70;p16"/>
          <p:cNvSpPr txBox="1">
            <a:spLocks noGrp="1"/>
          </p:cNvSpPr>
          <p:nvPr>
            <p:ph type="body" idx="5"/>
          </p:nvPr>
        </p:nvSpPr>
        <p:spPr>
          <a:xfrm>
            <a:off x="7316164" y="4065775"/>
            <a:ext cx="1711044" cy="914400"/>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rgbClr val="262626"/>
              </a:buClr>
              <a:buSzPts val="1600"/>
              <a:buNone/>
              <a:defRPr sz="1600">
                <a:solidFill>
                  <a:srgbClr val="262626"/>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16"/>
          <p:cNvSpPr txBox="1">
            <a:spLocks noGrp="1"/>
          </p:cNvSpPr>
          <p:nvPr>
            <p:ph type="body" idx="6"/>
          </p:nvPr>
        </p:nvSpPr>
        <p:spPr>
          <a:xfrm>
            <a:off x="9600369" y="4067100"/>
            <a:ext cx="1711044" cy="914400"/>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rgbClr val="262626"/>
              </a:buClr>
              <a:buSzPts val="1600"/>
              <a:buNone/>
              <a:defRPr sz="1600">
                <a:solidFill>
                  <a:srgbClr val="262626"/>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16"/>
          <p:cNvSpPr>
            <a:spLocks noGrp="1"/>
          </p:cNvSpPr>
          <p:nvPr>
            <p:ph type="pic" idx="7"/>
          </p:nvPr>
        </p:nvSpPr>
        <p:spPr>
          <a:xfrm>
            <a:off x="2996851" y="2737918"/>
            <a:ext cx="1212850" cy="977390"/>
          </a:xfrm>
          <a:prstGeom prst="rect">
            <a:avLst/>
          </a:prstGeom>
          <a:noFill/>
          <a:ln>
            <a:noFill/>
          </a:ln>
        </p:spPr>
      </p:sp>
      <p:sp>
        <p:nvSpPr>
          <p:cNvPr id="73" name="Google Shape;73;p16"/>
          <p:cNvSpPr>
            <a:spLocks noGrp="1"/>
          </p:cNvSpPr>
          <p:nvPr>
            <p:ph type="pic" idx="8"/>
          </p:nvPr>
        </p:nvSpPr>
        <p:spPr>
          <a:xfrm>
            <a:off x="5336189" y="2737918"/>
            <a:ext cx="1212850" cy="977390"/>
          </a:xfrm>
          <a:prstGeom prst="rect">
            <a:avLst/>
          </a:prstGeom>
          <a:noFill/>
          <a:ln>
            <a:noFill/>
          </a:ln>
        </p:spPr>
      </p:sp>
      <p:sp>
        <p:nvSpPr>
          <p:cNvPr id="74" name="Google Shape;74;p16"/>
          <p:cNvSpPr>
            <a:spLocks noGrp="1"/>
          </p:cNvSpPr>
          <p:nvPr>
            <p:ph type="pic" idx="9"/>
          </p:nvPr>
        </p:nvSpPr>
        <p:spPr>
          <a:xfrm>
            <a:off x="7565261" y="2737918"/>
            <a:ext cx="1212850" cy="977390"/>
          </a:xfrm>
          <a:prstGeom prst="rect">
            <a:avLst/>
          </a:prstGeom>
          <a:noFill/>
          <a:ln>
            <a:noFill/>
          </a:ln>
        </p:spPr>
      </p:sp>
      <p:sp>
        <p:nvSpPr>
          <p:cNvPr id="75" name="Google Shape;75;p16"/>
          <p:cNvSpPr>
            <a:spLocks noGrp="1"/>
          </p:cNvSpPr>
          <p:nvPr>
            <p:ph type="pic" idx="13"/>
          </p:nvPr>
        </p:nvSpPr>
        <p:spPr>
          <a:xfrm>
            <a:off x="9849466" y="2737918"/>
            <a:ext cx="1212850" cy="977390"/>
          </a:xfrm>
          <a:prstGeom prst="rect">
            <a:avLst/>
          </a:prstGeom>
          <a:noFill/>
          <a:ln>
            <a:noFill/>
          </a:ln>
        </p:spPr>
      </p:sp>
      <p:sp>
        <p:nvSpPr>
          <p:cNvPr id="76" name="Google Shape;76;p16"/>
          <p:cNvSpPr txBox="1">
            <a:spLocks noGrp="1"/>
          </p:cNvSpPr>
          <p:nvPr>
            <p:ph type="dt" idx="10"/>
          </p:nvPr>
        </p:nvSpPr>
        <p:spPr>
          <a:xfrm>
            <a:off x="464120" y="58506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16"/>
          <p:cNvSpPr txBox="1">
            <a:spLocks noGrp="1"/>
          </p:cNvSpPr>
          <p:nvPr>
            <p:ph type="ftr" idx="11"/>
          </p:nvPr>
        </p:nvSpPr>
        <p:spPr>
          <a:xfrm>
            <a:off x="4048442" y="5881608"/>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16"/>
          <p:cNvSpPr txBox="1">
            <a:spLocks noGrp="1"/>
          </p:cNvSpPr>
          <p:nvPr>
            <p:ph type="sldNum" idx="12"/>
          </p:nvPr>
        </p:nvSpPr>
        <p:spPr>
          <a:xfrm>
            <a:off x="9004364" y="588485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9" name="Google Shape;79;p16"/>
          <p:cNvSpPr txBox="1">
            <a:spLocks noGrp="1"/>
          </p:cNvSpPr>
          <p:nvPr>
            <p:ph type="body" idx="14"/>
          </p:nvPr>
        </p:nvSpPr>
        <p:spPr>
          <a:xfrm>
            <a:off x="463549" y="1363083"/>
            <a:ext cx="11260279" cy="602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62626"/>
              </a:buClr>
              <a:buSzPts val="2400"/>
              <a:buFont typeface="Arial"/>
              <a:buNone/>
              <a:defRPr sz="2400">
                <a:solidFill>
                  <a:srgbClr val="262626"/>
                </a:solidFill>
                <a:latin typeface="Arial Narrow"/>
                <a:ea typeface="Arial Narrow"/>
                <a:cs typeface="Arial Narrow"/>
                <a:sym typeface="Arial Narrow"/>
              </a:defRPr>
            </a:lvl1pPr>
            <a:lvl2pPr marL="914400" lvl="1" indent="-355600" algn="l">
              <a:lnSpc>
                <a:spcPct val="90000"/>
              </a:lnSpc>
              <a:spcBef>
                <a:spcPts val="500"/>
              </a:spcBef>
              <a:spcAft>
                <a:spcPts val="0"/>
              </a:spcAft>
              <a:buClr>
                <a:srgbClr val="262626"/>
              </a:buClr>
              <a:buSzPts val="2000"/>
              <a:buFont typeface="Calibri"/>
              <a:buChar char="•"/>
              <a:defRPr sz="20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 name="Google Shape;80;p16"/>
          <p:cNvSpPr txBox="1">
            <a:spLocks noGrp="1"/>
          </p:cNvSpPr>
          <p:nvPr>
            <p:ph type="title"/>
          </p:nvPr>
        </p:nvSpPr>
        <p:spPr>
          <a:xfrm>
            <a:off x="463550" y="478702"/>
            <a:ext cx="11260278" cy="71321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3600"/>
              <a:buFont typeface="Arial Narrow"/>
              <a:buNone/>
              <a:defRPr sz="3600">
                <a:solidFill>
                  <a:srgbClr val="262626"/>
                </a:solidFill>
                <a:latin typeface="Arial Narrow"/>
                <a:ea typeface="Arial Narrow"/>
                <a:cs typeface="Arial Narrow"/>
                <a:sym typeface="Arial Narrow"/>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 name="Google Shape;81;p16" descr="Logo&#10;&#10;Description automatically generated with medium confidence"/>
          <p:cNvPicPr preferRelativeResize="0"/>
          <p:nvPr/>
        </p:nvPicPr>
        <p:blipFill rotWithShape="1">
          <a:blip r:embed="rId2">
            <a:alphaModFix/>
          </a:blip>
          <a:srcRect/>
          <a:stretch/>
        </p:blipFill>
        <p:spPr>
          <a:xfrm>
            <a:off x="10689835" y="6353816"/>
            <a:ext cx="1057729" cy="504184"/>
          </a:xfrm>
          <a:prstGeom prst="rect">
            <a:avLst/>
          </a:prstGeom>
          <a:noFill/>
          <a:ln>
            <a:noFill/>
          </a:ln>
        </p:spPr>
      </p:pic>
      <p:grpSp>
        <p:nvGrpSpPr>
          <p:cNvPr id="82" name="Google Shape;82;p16"/>
          <p:cNvGrpSpPr/>
          <p:nvPr/>
        </p:nvGrpSpPr>
        <p:grpSpPr>
          <a:xfrm>
            <a:off x="376730" y="6405832"/>
            <a:ext cx="10131613" cy="276999"/>
            <a:chOff x="376730" y="6405832"/>
            <a:chExt cx="10131613" cy="276999"/>
          </a:xfrm>
        </p:grpSpPr>
        <p:cxnSp>
          <p:nvCxnSpPr>
            <p:cNvPr id="83" name="Google Shape;83;p16"/>
            <p:cNvCxnSpPr/>
            <p:nvPr/>
          </p:nvCxnSpPr>
          <p:spPr>
            <a:xfrm>
              <a:off x="3161712" y="6544331"/>
              <a:ext cx="7346631" cy="0"/>
            </a:xfrm>
            <a:prstGeom prst="straightConnector1">
              <a:avLst/>
            </a:prstGeom>
            <a:noFill/>
            <a:ln w="9525" cap="flat" cmpd="sng">
              <a:solidFill>
                <a:srgbClr val="00A0CC"/>
              </a:solidFill>
              <a:prstDash val="solid"/>
              <a:miter lim="800000"/>
              <a:headEnd type="none" w="sm" len="sm"/>
              <a:tailEnd type="none" w="sm" len="sm"/>
            </a:ln>
          </p:spPr>
        </p:cxnSp>
        <p:sp>
          <p:nvSpPr>
            <p:cNvPr id="84" name="Google Shape;84;p16"/>
            <p:cNvSpPr txBox="1"/>
            <p:nvPr/>
          </p:nvSpPr>
          <p:spPr>
            <a:xfrm>
              <a:off x="376730" y="6405832"/>
              <a:ext cx="286373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0" i="0">
                  <a:solidFill>
                    <a:schemeClr val="dk1"/>
                  </a:solidFill>
                  <a:latin typeface="Calibri"/>
                  <a:ea typeface="Calibri"/>
                  <a:cs typeface="Calibri"/>
                  <a:sym typeface="Calibri"/>
                </a:rPr>
                <a:t>© 2021 Jigsaw Academy Education Pvt Ltd.</a:t>
              </a:r>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ideo Slide">
  <p:cSld name="Video Slide">
    <p:spTree>
      <p:nvGrpSpPr>
        <p:cNvPr id="1" name="Shape 85"/>
        <p:cNvGrpSpPr/>
        <p:nvPr/>
      </p:nvGrpSpPr>
      <p:grpSpPr>
        <a:xfrm>
          <a:off x="0" y="0"/>
          <a:ext cx="0" cy="0"/>
          <a:chOff x="0" y="0"/>
          <a:chExt cx="0" cy="0"/>
        </a:xfrm>
      </p:grpSpPr>
      <p:sp>
        <p:nvSpPr>
          <p:cNvPr id="86" name="Google Shape;86;p17"/>
          <p:cNvSpPr txBox="1">
            <a:spLocks noGrp="1"/>
          </p:cNvSpPr>
          <p:nvPr>
            <p:ph type="body" idx="1"/>
          </p:nvPr>
        </p:nvSpPr>
        <p:spPr>
          <a:xfrm>
            <a:off x="5971309" y="2161314"/>
            <a:ext cx="5776255" cy="2766001"/>
          </a:xfrm>
          <a:prstGeom prst="rect">
            <a:avLst/>
          </a:prstGeom>
          <a:noFill/>
          <a:ln>
            <a:noFill/>
          </a:ln>
        </p:spPr>
        <p:txBody>
          <a:bodyPr spcFirstLastPara="1" wrap="square" lIns="91425" tIns="45700" rIns="91425" bIns="45700" anchor="t" anchorCtr="0">
            <a:normAutofit/>
          </a:bodyPr>
          <a:lstStyle>
            <a:lvl1pPr marL="457200" lvl="0" indent="-330200" algn="l">
              <a:lnSpc>
                <a:spcPct val="90000"/>
              </a:lnSpc>
              <a:spcBef>
                <a:spcPts val="1000"/>
              </a:spcBef>
              <a:spcAft>
                <a:spcPts val="0"/>
              </a:spcAft>
              <a:buClr>
                <a:srgbClr val="262626"/>
              </a:buClr>
              <a:buSzPts val="1600"/>
              <a:buFont typeface="Calibri"/>
              <a:buChar char="•"/>
              <a:defRPr sz="1600">
                <a:solidFill>
                  <a:srgbClr val="262626"/>
                </a:solidFill>
              </a:defRPr>
            </a:lvl1pPr>
            <a:lvl2pPr marL="914400" lvl="1" indent="-330200" algn="l">
              <a:lnSpc>
                <a:spcPct val="90000"/>
              </a:lnSpc>
              <a:spcBef>
                <a:spcPts val="500"/>
              </a:spcBef>
              <a:spcAft>
                <a:spcPts val="0"/>
              </a:spcAft>
              <a:buClr>
                <a:srgbClr val="262626"/>
              </a:buClr>
              <a:buSzPts val="1600"/>
              <a:buFont typeface="Calibri"/>
              <a:buChar char="•"/>
              <a:defRPr sz="16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17"/>
          <p:cNvSpPr>
            <a:spLocks noGrp="1"/>
          </p:cNvSpPr>
          <p:nvPr>
            <p:ph type="media" idx="2"/>
          </p:nvPr>
        </p:nvSpPr>
        <p:spPr>
          <a:xfrm>
            <a:off x="463550" y="2161314"/>
            <a:ext cx="4939724" cy="2766001"/>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7"/>
          <p:cNvSpPr txBox="1">
            <a:spLocks noGrp="1"/>
          </p:cNvSpPr>
          <p:nvPr>
            <p:ph type="dt" idx="10"/>
          </p:nvPr>
        </p:nvSpPr>
        <p:spPr>
          <a:xfrm>
            <a:off x="464120" y="58506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9" name="Google Shape;89;p17"/>
          <p:cNvSpPr txBox="1">
            <a:spLocks noGrp="1"/>
          </p:cNvSpPr>
          <p:nvPr>
            <p:ph type="ftr" idx="11"/>
          </p:nvPr>
        </p:nvSpPr>
        <p:spPr>
          <a:xfrm>
            <a:off x="4048442" y="5881608"/>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17"/>
          <p:cNvSpPr txBox="1">
            <a:spLocks noGrp="1"/>
          </p:cNvSpPr>
          <p:nvPr>
            <p:ph type="sldNum" idx="12"/>
          </p:nvPr>
        </p:nvSpPr>
        <p:spPr>
          <a:xfrm>
            <a:off x="9004364" y="588485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91" name="Google Shape;91;p17"/>
          <p:cNvSpPr txBox="1">
            <a:spLocks noGrp="1"/>
          </p:cNvSpPr>
          <p:nvPr>
            <p:ph type="body" idx="3"/>
          </p:nvPr>
        </p:nvSpPr>
        <p:spPr>
          <a:xfrm>
            <a:off x="463549" y="1363083"/>
            <a:ext cx="11260279" cy="602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62626"/>
              </a:buClr>
              <a:buSzPts val="2400"/>
              <a:buFont typeface="Arial"/>
              <a:buNone/>
              <a:defRPr sz="2400">
                <a:solidFill>
                  <a:srgbClr val="262626"/>
                </a:solidFill>
                <a:latin typeface="Arial Narrow"/>
                <a:ea typeface="Arial Narrow"/>
                <a:cs typeface="Arial Narrow"/>
                <a:sym typeface="Arial Narrow"/>
              </a:defRPr>
            </a:lvl1pPr>
            <a:lvl2pPr marL="914400" lvl="1" indent="-355600" algn="l">
              <a:lnSpc>
                <a:spcPct val="90000"/>
              </a:lnSpc>
              <a:spcBef>
                <a:spcPts val="500"/>
              </a:spcBef>
              <a:spcAft>
                <a:spcPts val="0"/>
              </a:spcAft>
              <a:buClr>
                <a:srgbClr val="262626"/>
              </a:buClr>
              <a:buSzPts val="2000"/>
              <a:buFont typeface="Calibri"/>
              <a:buChar char="•"/>
              <a:defRPr sz="20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 name="Google Shape;92;p17"/>
          <p:cNvSpPr txBox="1">
            <a:spLocks noGrp="1"/>
          </p:cNvSpPr>
          <p:nvPr>
            <p:ph type="title"/>
          </p:nvPr>
        </p:nvSpPr>
        <p:spPr>
          <a:xfrm>
            <a:off x="463550" y="478702"/>
            <a:ext cx="11260278" cy="71321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3600"/>
              <a:buFont typeface="Arial Narrow"/>
              <a:buNone/>
              <a:defRPr sz="3600">
                <a:solidFill>
                  <a:srgbClr val="262626"/>
                </a:solidFill>
                <a:latin typeface="Arial Narrow"/>
                <a:ea typeface="Arial Narrow"/>
                <a:cs typeface="Arial Narrow"/>
                <a:sym typeface="Arial Narrow"/>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3" name="Google Shape;93;p17" descr="Logo&#10;&#10;Description automatically generated with medium confidence"/>
          <p:cNvPicPr preferRelativeResize="0"/>
          <p:nvPr/>
        </p:nvPicPr>
        <p:blipFill rotWithShape="1">
          <a:blip r:embed="rId2">
            <a:alphaModFix/>
          </a:blip>
          <a:srcRect/>
          <a:stretch/>
        </p:blipFill>
        <p:spPr>
          <a:xfrm>
            <a:off x="10689835" y="6353816"/>
            <a:ext cx="1057729" cy="504184"/>
          </a:xfrm>
          <a:prstGeom prst="rect">
            <a:avLst/>
          </a:prstGeom>
          <a:noFill/>
          <a:ln>
            <a:noFill/>
          </a:ln>
        </p:spPr>
      </p:pic>
      <p:grpSp>
        <p:nvGrpSpPr>
          <p:cNvPr id="94" name="Google Shape;94;p17"/>
          <p:cNvGrpSpPr/>
          <p:nvPr/>
        </p:nvGrpSpPr>
        <p:grpSpPr>
          <a:xfrm>
            <a:off x="376730" y="6405832"/>
            <a:ext cx="10131613" cy="276999"/>
            <a:chOff x="376730" y="6405832"/>
            <a:chExt cx="10131613" cy="276999"/>
          </a:xfrm>
        </p:grpSpPr>
        <p:cxnSp>
          <p:nvCxnSpPr>
            <p:cNvPr id="95" name="Google Shape;95;p17"/>
            <p:cNvCxnSpPr/>
            <p:nvPr/>
          </p:nvCxnSpPr>
          <p:spPr>
            <a:xfrm>
              <a:off x="3161712" y="6544331"/>
              <a:ext cx="7346631" cy="0"/>
            </a:xfrm>
            <a:prstGeom prst="straightConnector1">
              <a:avLst/>
            </a:prstGeom>
            <a:noFill/>
            <a:ln w="9525" cap="flat" cmpd="sng">
              <a:solidFill>
                <a:srgbClr val="00A0CC"/>
              </a:solidFill>
              <a:prstDash val="solid"/>
              <a:miter lim="800000"/>
              <a:headEnd type="none" w="sm" len="sm"/>
              <a:tailEnd type="none" w="sm" len="sm"/>
            </a:ln>
          </p:spPr>
        </p:cxnSp>
        <p:sp>
          <p:nvSpPr>
            <p:cNvPr id="96" name="Google Shape;96;p17"/>
            <p:cNvSpPr txBox="1"/>
            <p:nvPr/>
          </p:nvSpPr>
          <p:spPr>
            <a:xfrm>
              <a:off x="376730" y="6405832"/>
              <a:ext cx="286373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0" i="0">
                  <a:solidFill>
                    <a:schemeClr val="dk1"/>
                  </a:solidFill>
                  <a:latin typeface="Calibri"/>
                  <a:ea typeface="Calibri"/>
                  <a:cs typeface="Calibri"/>
                  <a:sym typeface="Calibri"/>
                </a:rPr>
                <a:t>© 2021 Jigsaw Academy Education Pvt Ltd.</a:t>
              </a:r>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1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s://public.tableau.com/views/BYOP_16639078949640/Summary?:language=en-US&amp;publish=yes&amp;:display_count=n&amp;:origin=viz_share_link" TargetMode="External"/><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youtu.be/o7JGkECA8oU" TargetMode="External"/><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hyperlink" Target="https://public.tableau.com/views/BYOP_16639078949640/Summary?:language=en-US&amp;publish=yes&amp;:display_count=n&amp;:origin=viz_share_link" TargetMode="External"/><Relationship Id="rId2" Type="http://schemas.openxmlformats.org/officeDocument/2006/relationships/image" Target="../media/image35.png"/><Relationship Id="rId1" Type="http://schemas.openxmlformats.org/officeDocument/2006/relationships/slideLayout" Target="../slideLayouts/slideLayout3.xml"/><Relationship Id="rId6" Type="http://schemas.openxmlformats.org/officeDocument/2006/relationships/hyperlink" Target="https://drive.google.com/drive/folders/1GY32zlWGneqyUfUMyg80Yyg2gh0Wr_RA" TargetMode="External"/><Relationship Id="rId5" Type="http://schemas.openxmlformats.org/officeDocument/2006/relationships/hyperlink" Target="https://youtu.be/o7JGkECA8oU" TargetMode="External"/><Relationship Id="rId4" Type="http://schemas.openxmlformats.org/officeDocument/2006/relationships/image" Target="../media/image36.w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slide" Target="slide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0"/>
        <p:cNvGrpSpPr/>
        <p:nvPr/>
      </p:nvGrpSpPr>
      <p:grpSpPr>
        <a:xfrm>
          <a:off x="0" y="0"/>
          <a:ext cx="0" cy="0"/>
          <a:chOff x="0" y="0"/>
          <a:chExt cx="0" cy="0"/>
        </a:xfrm>
      </p:grpSpPr>
      <p:pic>
        <p:nvPicPr>
          <p:cNvPr id="101" name="Google Shape;101;p1" descr="A picture containing graphical user interface&#10;&#10;Description automatically generated"/>
          <p:cNvPicPr preferRelativeResize="0"/>
          <p:nvPr/>
        </p:nvPicPr>
        <p:blipFill rotWithShape="1">
          <a:blip r:embed="rId3">
            <a:alphaModFix/>
          </a:blip>
          <a:srcRect/>
          <a:stretch/>
        </p:blipFill>
        <p:spPr>
          <a:xfrm>
            <a:off x="0" y="-18896"/>
            <a:ext cx="12201142" cy="6876896"/>
          </a:xfrm>
          <a:prstGeom prst="rect">
            <a:avLst/>
          </a:prstGeom>
          <a:noFill/>
          <a:ln>
            <a:noFill/>
          </a:ln>
        </p:spPr>
      </p:pic>
      <p:sp>
        <p:nvSpPr>
          <p:cNvPr id="102" name="Google Shape;102;p1"/>
          <p:cNvSpPr/>
          <p:nvPr/>
        </p:nvSpPr>
        <p:spPr>
          <a:xfrm>
            <a:off x="1524" y="0"/>
            <a:ext cx="12188952" cy="6858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03" name="Google Shape;103;p1"/>
          <p:cNvSpPr txBox="1"/>
          <p:nvPr/>
        </p:nvSpPr>
        <p:spPr>
          <a:xfrm>
            <a:off x="245656" y="1592825"/>
            <a:ext cx="4939818" cy="2143433"/>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chemeClr val="lt1"/>
              </a:buClr>
              <a:buSzPts val="5000"/>
              <a:buFont typeface="Arial"/>
              <a:buNone/>
            </a:pPr>
            <a:r>
              <a:rPr lang="en-US" sz="4400" b="0" i="0" u="none" strike="noStrike" cap="none" dirty="0">
                <a:solidFill>
                  <a:schemeClr val="lt1"/>
                </a:solidFill>
                <a:latin typeface="Berlin Sans FB" panose="020E0602020502020306" pitchFamily="34" charset="0"/>
                <a:ea typeface="Arial Narrow"/>
                <a:cs typeface="Helvetica" panose="020B0604020202020204" pitchFamily="34" charset="0"/>
                <a:sym typeface="Arial Narrow"/>
              </a:rPr>
              <a:t>Credit Worthiness </a:t>
            </a:r>
            <a:r>
              <a:rPr lang="en-US" sz="4400" dirty="0">
                <a:solidFill>
                  <a:schemeClr val="lt1"/>
                </a:solidFill>
                <a:latin typeface="Berlin Sans FB" panose="020E0602020502020306" pitchFamily="34" charset="0"/>
                <a:ea typeface="Arial Narrow"/>
                <a:cs typeface="Helvetica" panose="020B0604020202020204" pitchFamily="34" charset="0"/>
                <a:sym typeface="Arial Narrow"/>
              </a:rPr>
              <a:t>P</a:t>
            </a:r>
            <a:r>
              <a:rPr lang="en-US" sz="4400" b="0" i="0" u="none" strike="noStrike" cap="none" dirty="0">
                <a:solidFill>
                  <a:schemeClr val="lt1"/>
                </a:solidFill>
                <a:latin typeface="Berlin Sans FB" panose="020E0602020502020306" pitchFamily="34" charset="0"/>
                <a:ea typeface="Arial Narrow"/>
                <a:cs typeface="Helvetica" panose="020B0604020202020204" pitchFamily="34" charset="0"/>
                <a:sym typeface="Arial Narrow"/>
              </a:rPr>
              <a:t>rediction </a:t>
            </a:r>
            <a:endParaRPr sz="4400" b="0" i="0" u="none" strike="noStrike" cap="none" dirty="0">
              <a:solidFill>
                <a:schemeClr val="lt1"/>
              </a:solidFill>
              <a:latin typeface="Berlin Sans FB" panose="020E0602020502020306" pitchFamily="34" charset="0"/>
              <a:ea typeface="Arial Narrow"/>
              <a:cs typeface="Helvetica" panose="020B0604020202020204" pitchFamily="34" charset="0"/>
              <a:sym typeface="Arial Narrow"/>
            </a:endParaRPr>
          </a:p>
        </p:txBody>
      </p:sp>
      <p:sp>
        <p:nvSpPr>
          <p:cNvPr id="104" name="Google Shape;104;p1"/>
          <p:cNvSpPr txBox="1"/>
          <p:nvPr/>
        </p:nvSpPr>
        <p:spPr>
          <a:xfrm>
            <a:off x="272694" y="4375355"/>
            <a:ext cx="5823306" cy="190745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4000"/>
              <a:buFont typeface="Arial"/>
              <a:buNone/>
            </a:pPr>
            <a:r>
              <a:rPr lang="en-US" sz="2400" b="1" u="none" strike="noStrike" cap="none" dirty="0">
                <a:solidFill>
                  <a:schemeClr val="bg1"/>
                </a:solidFill>
                <a:latin typeface="Futura Lt BT" panose="020B0402020204020303" pitchFamily="34" charset="0"/>
                <a:ea typeface="Arial Narrow"/>
                <a:cs typeface="Calibri" panose="020F0502020204030204" pitchFamily="34" charset="0"/>
                <a:sym typeface="Arial Narrow"/>
              </a:rPr>
              <a:t>Team: IPBA 11 - Group E</a:t>
            </a:r>
          </a:p>
          <a:p>
            <a:pPr marL="0" marR="0" lvl="0" indent="0" algn="l" rtl="0">
              <a:lnSpc>
                <a:spcPct val="90000"/>
              </a:lnSpc>
              <a:spcBef>
                <a:spcPts val="0"/>
              </a:spcBef>
              <a:spcAft>
                <a:spcPts val="0"/>
              </a:spcAft>
              <a:buClr>
                <a:schemeClr val="lt1"/>
              </a:buClr>
              <a:buSzPts val="4000"/>
              <a:buFont typeface="Arial"/>
              <a:buNone/>
            </a:pPr>
            <a:r>
              <a:rPr lang="en-US" sz="2400" b="1" dirty="0">
                <a:solidFill>
                  <a:schemeClr val="bg1"/>
                </a:solidFill>
                <a:latin typeface="Futura Lt BT" panose="020B0402020204020303" pitchFamily="34" charset="0"/>
                <a:cs typeface="Calibri" panose="020F0502020204030204" pitchFamily="34" charset="0"/>
                <a:sym typeface="Arial Narrow"/>
              </a:rPr>
              <a:t>Domain: BFSI</a:t>
            </a:r>
          </a:p>
          <a:p>
            <a:pPr marL="0" marR="0" lvl="0" indent="0" algn="l" rtl="0">
              <a:lnSpc>
                <a:spcPct val="90000"/>
              </a:lnSpc>
              <a:spcBef>
                <a:spcPts val="0"/>
              </a:spcBef>
              <a:spcAft>
                <a:spcPts val="0"/>
              </a:spcAft>
              <a:buClr>
                <a:schemeClr val="lt1"/>
              </a:buClr>
              <a:buSzPts val="4000"/>
              <a:buFont typeface="Arial"/>
              <a:buNone/>
            </a:pPr>
            <a:endParaRPr lang="en-US" sz="2400" dirty="0">
              <a:solidFill>
                <a:schemeClr val="bg1"/>
              </a:solidFill>
              <a:latin typeface="Calibri" panose="020F0502020204030204" pitchFamily="34" charset="0"/>
              <a:cs typeface="Calibri" panose="020F0502020204030204" pitchFamily="34" charset="0"/>
            </a:endParaRPr>
          </a:p>
          <a:p>
            <a:pPr marL="0" marR="0" lvl="0" indent="0" algn="l" rtl="0">
              <a:lnSpc>
                <a:spcPct val="90000"/>
              </a:lnSpc>
              <a:spcBef>
                <a:spcPts val="0"/>
              </a:spcBef>
              <a:spcAft>
                <a:spcPts val="0"/>
              </a:spcAft>
              <a:buClr>
                <a:schemeClr val="lt1"/>
              </a:buClr>
              <a:buSzPts val="4000"/>
              <a:buFont typeface="Arial"/>
              <a:buNone/>
            </a:pPr>
            <a:r>
              <a:rPr lang="en-US" sz="1600" dirty="0">
                <a:solidFill>
                  <a:schemeClr val="accent4"/>
                </a:solidFill>
                <a:latin typeface="Calibri" panose="020F0502020204030204" pitchFamily="34" charset="0"/>
                <a:cs typeface="Calibri" panose="020F0502020204030204" pitchFamily="34" charset="0"/>
              </a:rPr>
              <a:t>Mentored by: </a:t>
            </a:r>
          </a:p>
          <a:p>
            <a:pPr marL="0" marR="0" lvl="0" indent="0" algn="l" rtl="0">
              <a:lnSpc>
                <a:spcPct val="90000"/>
              </a:lnSpc>
              <a:spcBef>
                <a:spcPts val="0"/>
              </a:spcBef>
              <a:spcAft>
                <a:spcPts val="0"/>
              </a:spcAft>
              <a:buClr>
                <a:schemeClr val="lt1"/>
              </a:buClr>
              <a:buSzPts val="4000"/>
              <a:buFont typeface="Arial"/>
              <a:buNone/>
            </a:pPr>
            <a:r>
              <a:rPr lang="en-US" sz="2400" dirty="0">
                <a:solidFill>
                  <a:schemeClr val="bg1"/>
                </a:solidFill>
                <a:latin typeface="Calibri" panose="020F0502020204030204" pitchFamily="34" charset="0"/>
                <a:cs typeface="Calibri" panose="020F0502020204030204" pitchFamily="34" charset="0"/>
              </a:rPr>
              <a:t>Ms. </a:t>
            </a:r>
            <a:r>
              <a:rPr lang="en-US" sz="2400" dirty="0" err="1">
                <a:solidFill>
                  <a:schemeClr val="bg1"/>
                </a:solidFill>
                <a:latin typeface="Calibri" panose="020F0502020204030204" pitchFamily="34" charset="0"/>
                <a:cs typeface="Calibri" panose="020F0502020204030204" pitchFamily="34" charset="0"/>
              </a:rPr>
              <a:t>Ashna</a:t>
            </a:r>
            <a:r>
              <a:rPr lang="en-US" sz="2400" dirty="0">
                <a:solidFill>
                  <a:schemeClr val="bg1"/>
                </a:solidFill>
                <a:latin typeface="Calibri" panose="020F0502020204030204" pitchFamily="34" charset="0"/>
                <a:cs typeface="Calibri" panose="020F0502020204030204" pitchFamily="34" charset="0"/>
              </a:rPr>
              <a:t> Grover	</a:t>
            </a:r>
          </a:p>
          <a:p>
            <a:pPr marL="0" marR="0" lvl="0" indent="0" algn="l" rtl="0">
              <a:lnSpc>
                <a:spcPct val="90000"/>
              </a:lnSpc>
              <a:spcBef>
                <a:spcPts val="0"/>
              </a:spcBef>
              <a:spcAft>
                <a:spcPts val="0"/>
              </a:spcAft>
              <a:buClr>
                <a:schemeClr val="lt1"/>
              </a:buClr>
              <a:buSzPts val="4000"/>
              <a:buFont typeface="Arial"/>
              <a:buNone/>
            </a:pPr>
            <a:r>
              <a:rPr lang="en-SG" sz="1600" i="0" dirty="0">
                <a:solidFill>
                  <a:schemeClr val="accent4"/>
                </a:solidFill>
                <a:effectLst/>
                <a:latin typeface="Calibri" panose="020F0502020204030204" pitchFamily="34" charset="0"/>
                <a:cs typeface="Calibri" panose="020F0502020204030204" pitchFamily="34" charset="0"/>
              </a:rPr>
              <a:t>Business Consultant</a:t>
            </a:r>
            <a:r>
              <a:rPr lang="en-US" sz="1600" i="0" dirty="0">
                <a:solidFill>
                  <a:schemeClr val="accent4"/>
                </a:solidFill>
                <a:effectLst/>
                <a:latin typeface="Calibri" panose="020F0502020204030204" pitchFamily="34" charset="0"/>
                <a:cs typeface="Calibri" panose="020F0502020204030204" pitchFamily="34" charset="0"/>
              </a:rPr>
              <a:t>, Accenture</a:t>
            </a:r>
            <a:r>
              <a:rPr lang="en-US" sz="2400" dirty="0">
                <a:solidFill>
                  <a:schemeClr val="bg1"/>
                </a:solidFill>
                <a:latin typeface="Calibri" panose="020F0502020204030204" pitchFamily="34" charset="0"/>
                <a:cs typeface="Calibri" panose="020F0502020204030204" pitchFamily="34" charset="0"/>
              </a:rPr>
              <a:t>	</a:t>
            </a:r>
          </a:p>
        </p:txBody>
      </p:sp>
      <p:pic>
        <p:nvPicPr>
          <p:cNvPr id="106" name="Google Shape;106;p1" descr="Indian Institute of Management Indore - Wikipedia"/>
          <p:cNvPicPr preferRelativeResize="0"/>
          <p:nvPr/>
        </p:nvPicPr>
        <p:blipFill rotWithShape="1">
          <a:blip r:embed="rId4">
            <a:alphaModFix/>
          </a:blip>
          <a:srcRect/>
          <a:stretch/>
        </p:blipFill>
        <p:spPr>
          <a:xfrm>
            <a:off x="88957" y="75842"/>
            <a:ext cx="411718" cy="663913"/>
          </a:xfrm>
          <a:prstGeom prst="rect">
            <a:avLst/>
          </a:prstGeom>
          <a:noFill/>
          <a:ln>
            <a:noFill/>
          </a:ln>
        </p:spPr>
      </p:pic>
      <p:pic>
        <p:nvPicPr>
          <p:cNvPr id="108" name="Google Shape;108;p1" descr="Logo&#10;&#10;Description automatically generated with medium confidence"/>
          <p:cNvPicPr preferRelativeResize="0"/>
          <p:nvPr/>
        </p:nvPicPr>
        <p:blipFill rotWithShape="1">
          <a:blip r:embed="rId5">
            <a:alphaModFix/>
          </a:blip>
          <a:srcRect/>
          <a:stretch/>
        </p:blipFill>
        <p:spPr>
          <a:xfrm>
            <a:off x="10710219" y="75842"/>
            <a:ext cx="1392824" cy="663913"/>
          </a:xfrm>
          <a:prstGeom prst="rect">
            <a:avLst/>
          </a:prstGeom>
          <a:noFill/>
          <a:ln>
            <a:noFill/>
          </a:ln>
        </p:spPr>
      </p:pic>
    </p:spTree>
    <p:extLst>
      <p:ext uri="{BB962C8B-B14F-4D97-AF65-F5344CB8AC3E}">
        <p14:creationId xmlns:p14="http://schemas.microsoft.com/office/powerpoint/2010/main" val="6391447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4B3DCF99-4807-2F21-1158-C2E750E92F00}"/>
              </a:ext>
            </a:extLst>
          </p:cNvPr>
          <p:cNvSpPr txBox="1">
            <a:spLocks/>
          </p:cNvSpPr>
          <p:nvPr/>
        </p:nvSpPr>
        <p:spPr>
          <a:xfrm>
            <a:off x="656074" y="314326"/>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Variables Data Visualization  </a:t>
            </a:r>
          </a:p>
        </p:txBody>
      </p:sp>
      <p:pic>
        <p:nvPicPr>
          <p:cNvPr id="3" name="Picture 2">
            <a:extLst>
              <a:ext uri="{FF2B5EF4-FFF2-40B4-BE49-F238E27FC236}">
                <a16:creationId xmlns:a16="http://schemas.microsoft.com/office/drawing/2014/main" id="{04A9067C-3686-816B-8B32-3CD1A6D383AD}"/>
              </a:ext>
            </a:extLst>
          </p:cNvPr>
          <p:cNvPicPr>
            <a:picLocks noChangeAspect="1"/>
          </p:cNvPicPr>
          <p:nvPr/>
        </p:nvPicPr>
        <p:blipFill>
          <a:blip r:embed="rId2"/>
          <a:stretch>
            <a:fillRect/>
          </a:stretch>
        </p:blipFill>
        <p:spPr>
          <a:xfrm>
            <a:off x="948532" y="1525926"/>
            <a:ext cx="9833768" cy="4246224"/>
          </a:xfrm>
          <a:prstGeom prst="rect">
            <a:avLst/>
          </a:prstGeom>
        </p:spPr>
      </p:pic>
      <p:sp>
        <p:nvSpPr>
          <p:cNvPr id="4" name="TextBox 3">
            <a:extLst>
              <a:ext uri="{FF2B5EF4-FFF2-40B4-BE49-F238E27FC236}">
                <a16:creationId xmlns:a16="http://schemas.microsoft.com/office/drawing/2014/main" id="{B68095BF-A562-EDC7-5417-591866DC9231}"/>
              </a:ext>
            </a:extLst>
          </p:cNvPr>
          <p:cNvSpPr txBox="1"/>
          <p:nvPr/>
        </p:nvSpPr>
        <p:spPr>
          <a:xfrm>
            <a:off x="948532" y="993361"/>
            <a:ext cx="9614693" cy="523220"/>
          </a:xfrm>
          <a:prstGeom prst="rect">
            <a:avLst/>
          </a:prstGeom>
          <a:solidFill>
            <a:schemeClr val="bg1">
              <a:lumMod val="85000"/>
            </a:schemeClr>
          </a:solidFill>
        </p:spPr>
        <p:txBody>
          <a:bodyPr wrap="square" rtlCol="0">
            <a:spAutoFit/>
          </a:bodyPr>
          <a:lstStyle/>
          <a:p>
            <a:pPr algn="ctr"/>
            <a:r>
              <a:rPr lang="en-IN" dirty="0">
                <a:latin typeface="Futura Lt BT" panose="020B0402020204020303"/>
              </a:rPr>
              <a:t>We have developed a Visualization in Tableau using our cleaned and final dataset output. This can help decision makers to understand the numbers of eligible customers by all the dependent parameters that have contributed for their eligibility. </a:t>
            </a:r>
          </a:p>
        </p:txBody>
      </p:sp>
      <p:sp>
        <p:nvSpPr>
          <p:cNvPr id="5" name="TextBox 4">
            <a:extLst>
              <a:ext uri="{FF2B5EF4-FFF2-40B4-BE49-F238E27FC236}">
                <a16:creationId xmlns:a16="http://schemas.microsoft.com/office/drawing/2014/main" id="{16260EEE-1CBA-36D1-AE9D-E82BE7EEB388}"/>
              </a:ext>
            </a:extLst>
          </p:cNvPr>
          <p:cNvSpPr txBox="1"/>
          <p:nvPr/>
        </p:nvSpPr>
        <p:spPr>
          <a:xfrm>
            <a:off x="948532" y="5894968"/>
            <a:ext cx="9614693" cy="523220"/>
          </a:xfrm>
          <a:prstGeom prst="rect">
            <a:avLst/>
          </a:prstGeom>
          <a:solidFill>
            <a:schemeClr val="bg1">
              <a:lumMod val="85000"/>
            </a:schemeClr>
          </a:solidFill>
        </p:spPr>
        <p:txBody>
          <a:bodyPr wrap="square" rtlCol="0">
            <a:spAutoFit/>
          </a:bodyPr>
          <a:lstStyle/>
          <a:p>
            <a:pPr algn="ctr"/>
            <a:r>
              <a:rPr lang="en-IN" dirty="0">
                <a:latin typeface="Futura Lt BT" panose="020B0402020204020303"/>
              </a:rPr>
              <a:t>We have published this view in Tableau public as well below is the link for same:</a:t>
            </a:r>
          </a:p>
          <a:p>
            <a:pPr algn="ctr"/>
            <a:r>
              <a:rPr lang="en-US" b="1" u="sng" dirty="0">
                <a:solidFill>
                  <a:srgbClr val="00588A"/>
                </a:solidFill>
                <a:latin typeface="Futura Lt BT" panose="020B0402020204020303"/>
                <a:hlinkClick r:id="rId3"/>
              </a:rPr>
              <a:t>Link to open Tableau Dashboard</a:t>
            </a:r>
            <a:endParaRPr lang="en-IN" b="1" u="sng" dirty="0">
              <a:solidFill>
                <a:srgbClr val="00588A"/>
              </a:solidFill>
              <a:latin typeface="Futura Lt BT" panose="020B0402020204020303"/>
            </a:endParaRPr>
          </a:p>
        </p:txBody>
      </p:sp>
    </p:spTree>
    <p:extLst>
      <p:ext uri="{BB962C8B-B14F-4D97-AF65-F5344CB8AC3E}">
        <p14:creationId xmlns:p14="http://schemas.microsoft.com/office/powerpoint/2010/main" val="3163306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80647" y="306029"/>
            <a:ext cx="11082312" cy="5932142"/>
            <a:chOff x="480647" y="306029"/>
            <a:chExt cx="11082312" cy="5932142"/>
          </a:xfrm>
        </p:grpSpPr>
        <p:sp>
          <p:nvSpPr>
            <p:cNvPr id="13" name="Title 2">
              <a:extLst>
                <a:ext uri="{FF2B5EF4-FFF2-40B4-BE49-F238E27FC236}">
                  <a16:creationId xmlns:a16="http://schemas.microsoft.com/office/drawing/2014/main" id="{4B3DCF99-4807-2F21-1158-C2E750E92F00}"/>
                </a:ext>
              </a:extLst>
            </p:cNvPr>
            <p:cNvSpPr txBox="1">
              <a:spLocks/>
            </p:cNvSpPr>
            <p:nvPr/>
          </p:nvSpPr>
          <p:spPr>
            <a:xfrm>
              <a:off x="656074" y="306029"/>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Variables Data Visualization  </a:t>
              </a:r>
            </a:p>
          </p:txBody>
        </p:sp>
        <p:sp>
          <p:nvSpPr>
            <p:cNvPr id="2" name="TextBox 1">
              <a:extLst>
                <a:ext uri="{FF2B5EF4-FFF2-40B4-BE49-F238E27FC236}">
                  <a16:creationId xmlns:a16="http://schemas.microsoft.com/office/drawing/2014/main" id="{CBFECB78-BB82-DB0E-346C-1582BC348E90}"/>
                </a:ext>
              </a:extLst>
            </p:cNvPr>
            <p:cNvSpPr txBox="1"/>
            <p:nvPr/>
          </p:nvSpPr>
          <p:spPr>
            <a:xfrm>
              <a:off x="759655" y="1137138"/>
              <a:ext cx="10227213" cy="954107"/>
            </a:xfrm>
            <a:prstGeom prst="rect">
              <a:avLst/>
            </a:prstGeom>
            <a:solidFill>
              <a:schemeClr val="bg1">
                <a:lumMod val="85000"/>
              </a:schemeClr>
            </a:solidFill>
          </p:spPr>
          <p:txBody>
            <a:bodyPr wrap="square" rtlCol="0">
              <a:spAutoFit/>
            </a:bodyPr>
            <a:lstStyle/>
            <a:p>
              <a:r>
                <a:rPr lang="en-IN" dirty="0">
                  <a:latin typeface="Futura Lt BT" panose="020B0402020204020303"/>
                </a:rPr>
                <a:t>Developed view in an interactive piece showing dynamic values that are filtering each other.</a:t>
              </a:r>
            </a:p>
            <a:p>
              <a:endParaRPr lang="en-IN" dirty="0">
                <a:latin typeface="Futura Lt BT" panose="020B0402020204020303"/>
              </a:endParaRPr>
            </a:p>
            <a:p>
              <a:r>
                <a:rPr lang="en-IN" dirty="0">
                  <a:latin typeface="Futura Lt BT" panose="020B0402020204020303"/>
                </a:rPr>
                <a:t>All the charts on dashboard are working as a filter on each other. For example in below screenshot. We have selected the eligible button in </a:t>
              </a:r>
            </a:p>
          </p:txBody>
        </p:sp>
        <p:sp>
          <p:nvSpPr>
            <p:cNvPr id="6" name="TextBox 5">
              <a:extLst>
                <a:ext uri="{FF2B5EF4-FFF2-40B4-BE49-F238E27FC236}">
                  <a16:creationId xmlns:a16="http://schemas.microsoft.com/office/drawing/2014/main" id="{BC49F200-AA9D-E844-4A77-B881212D4B84}"/>
                </a:ext>
              </a:extLst>
            </p:cNvPr>
            <p:cNvSpPr txBox="1"/>
            <p:nvPr/>
          </p:nvSpPr>
          <p:spPr>
            <a:xfrm>
              <a:off x="8549787" y="2237627"/>
              <a:ext cx="3013172" cy="4000544"/>
            </a:xfrm>
            <a:prstGeom prst="rect">
              <a:avLst/>
            </a:prstGeom>
            <a:solidFill>
              <a:srgbClr val="D9D9D9"/>
            </a:solidFill>
          </p:spPr>
          <p:txBody>
            <a:bodyPr wrap="square" rtlCol="0">
              <a:spAutoFit/>
            </a:bodyPr>
            <a:lstStyle/>
            <a:p>
              <a:r>
                <a:rPr lang="en-IN" dirty="0">
                  <a:latin typeface="Futura Lt BT" panose="020B0402020204020303"/>
                </a:rPr>
                <a:t>For example:</a:t>
              </a:r>
            </a:p>
            <a:p>
              <a:endParaRPr lang="en-IN" dirty="0">
                <a:latin typeface="Futura Lt BT" panose="020B0402020204020303"/>
              </a:endParaRPr>
            </a:p>
            <a:p>
              <a:r>
                <a:rPr lang="en-IN" dirty="0">
                  <a:latin typeface="Futura Lt BT" panose="020B0402020204020303"/>
                </a:rPr>
                <a:t>We can see there are 36457 total customers.</a:t>
              </a:r>
            </a:p>
            <a:p>
              <a:r>
                <a:rPr lang="en-IN" dirty="0">
                  <a:latin typeface="Futura Lt BT" panose="020B0402020204020303"/>
                </a:rPr>
                <a:t>When we select Eligible button as highlighted we can see there are </a:t>
              </a:r>
              <a:r>
                <a:rPr lang="en-IN" b="1" dirty="0">
                  <a:latin typeface="Futura Lt BT" panose="020B0402020204020303"/>
                </a:rPr>
                <a:t>32166</a:t>
              </a:r>
              <a:r>
                <a:rPr lang="en-IN" dirty="0">
                  <a:latin typeface="Futura Lt BT" panose="020B0402020204020303"/>
                </a:rPr>
                <a:t> customers that eligible out of which </a:t>
              </a:r>
              <a:r>
                <a:rPr lang="en-IN" b="1" dirty="0">
                  <a:latin typeface="Futura Lt BT" panose="020B0402020204020303"/>
                </a:rPr>
                <a:t>10494</a:t>
              </a:r>
              <a:r>
                <a:rPr lang="en-IN" dirty="0">
                  <a:latin typeface="Futura Lt BT" panose="020B0402020204020303"/>
                </a:rPr>
                <a:t> are male and </a:t>
              </a:r>
              <a:r>
                <a:rPr lang="en-IN" b="1" dirty="0">
                  <a:latin typeface="Futura Lt BT" panose="020B0402020204020303"/>
                </a:rPr>
                <a:t>2758</a:t>
              </a:r>
              <a:r>
                <a:rPr lang="en-IN" dirty="0">
                  <a:latin typeface="Futura Lt BT" panose="020B0402020204020303"/>
                </a:rPr>
                <a:t> are female out of which </a:t>
              </a:r>
              <a:r>
                <a:rPr lang="en-IN" b="1" dirty="0">
                  <a:latin typeface="Futura Lt BT" panose="020B0402020204020303"/>
                </a:rPr>
                <a:t>38.16</a:t>
              </a:r>
              <a:r>
                <a:rPr lang="en-IN" dirty="0">
                  <a:latin typeface="Futura Lt BT" panose="020B0402020204020303"/>
                </a:rPr>
                <a:t>% Eligible customers own a car and </a:t>
              </a:r>
              <a:r>
                <a:rPr lang="en-IN" b="1" dirty="0">
                  <a:latin typeface="Futura Lt BT" panose="020B0402020204020303"/>
                </a:rPr>
                <a:t>67.70</a:t>
              </a:r>
              <a:r>
                <a:rPr lang="en-IN" dirty="0">
                  <a:latin typeface="Futura Lt BT" panose="020B0402020204020303"/>
                </a:rPr>
                <a:t>% Customers own real estate further we can see the break down by age, realty type, education type, income type and etc.</a:t>
              </a:r>
            </a:p>
            <a:p>
              <a:endParaRPr lang="en-IN" dirty="0">
                <a:latin typeface="Futura Lt BT" panose="020B0402020204020303"/>
              </a:endParaRPr>
            </a:p>
            <a:p>
              <a:r>
                <a:rPr lang="en-IN" dirty="0">
                  <a:latin typeface="Futura Lt BT" panose="020B0402020204020303"/>
                </a:rPr>
                <a:t>All the charts work as a filter we can select each dimension in chart and it will work as filter.</a:t>
              </a:r>
            </a:p>
          </p:txBody>
        </p:sp>
        <p:sp>
          <p:nvSpPr>
            <p:cNvPr id="5" name="Rectangle 4">
              <a:extLst>
                <a:ext uri="{FF2B5EF4-FFF2-40B4-BE49-F238E27FC236}">
                  <a16:creationId xmlns:a16="http://schemas.microsoft.com/office/drawing/2014/main" id="{B6FBA22C-456E-32EF-43D5-7664F5243F40}"/>
                </a:ext>
              </a:extLst>
            </p:cNvPr>
            <p:cNvSpPr/>
            <p:nvPr/>
          </p:nvSpPr>
          <p:spPr>
            <a:xfrm>
              <a:off x="642006" y="3294493"/>
              <a:ext cx="3226609" cy="21274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 name="Picture 6">
              <a:extLst>
                <a:ext uri="{FF2B5EF4-FFF2-40B4-BE49-F238E27FC236}">
                  <a16:creationId xmlns:a16="http://schemas.microsoft.com/office/drawing/2014/main" id="{BAEE883A-F67F-6030-1DD5-C0DA5FC397AE}"/>
                </a:ext>
              </a:extLst>
            </p:cNvPr>
            <p:cNvPicPr>
              <a:picLocks noChangeAspect="1"/>
            </p:cNvPicPr>
            <p:nvPr/>
          </p:nvPicPr>
          <p:blipFill>
            <a:blip r:embed="rId2"/>
            <a:stretch>
              <a:fillRect/>
            </a:stretch>
          </p:blipFill>
          <p:spPr>
            <a:xfrm>
              <a:off x="480647" y="2237627"/>
              <a:ext cx="7805116" cy="4000544"/>
            </a:xfrm>
            <a:prstGeom prst="rect">
              <a:avLst/>
            </a:prstGeom>
          </p:spPr>
        </p:pic>
      </p:grpSp>
    </p:spTree>
    <p:extLst>
      <p:ext uri="{BB962C8B-B14F-4D97-AF65-F5344CB8AC3E}">
        <p14:creationId xmlns:p14="http://schemas.microsoft.com/office/powerpoint/2010/main" val="7453101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71450" y="285749"/>
            <a:ext cx="11883838" cy="6043332"/>
            <a:chOff x="171450" y="285749"/>
            <a:chExt cx="11883838" cy="6043332"/>
          </a:xfrm>
        </p:grpSpPr>
        <p:pic>
          <p:nvPicPr>
            <p:cNvPr id="5" name="Picture 4"/>
            <p:cNvPicPr>
              <a:picLocks noChangeAspect="1"/>
            </p:cNvPicPr>
            <p:nvPr/>
          </p:nvPicPr>
          <p:blipFill>
            <a:blip r:embed="rId2"/>
            <a:stretch>
              <a:fillRect/>
            </a:stretch>
          </p:blipFill>
          <p:spPr>
            <a:xfrm>
              <a:off x="7273697" y="1897754"/>
              <a:ext cx="4781591" cy="3628952"/>
            </a:xfrm>
            <a:prstGeom prst="rect">
              <a:avLst/>
            </a:prstGeom>
          </p:spPr>
        </p:pic>
        <p:pic>
          <p:nvPicPr>
            <p:cNvPr id="6" name="Picture 5"/>
            <p:cNvPicPr>
              <a:picLocks noChangeAspect="1"/>
            </p:cNvPicPr>
            <p:nvPr/>
          </p:nvPicPr>
          <p:blipFill>
            <a:blip r:embed="rId3"/>
            <a:stretch>
              <a:fillRect/>
            </a:stretch>
          </p:blipFill>
          <p:spPr>
            <a:xfrm>
              <a:off x="171450" y="1112942"/>
              <a:ext cx="6146965" cy="5216139"/>
            </a:xfrm>
            <a:prstGeom prst="rect">
              <a:avLst/>
            </a:prstGeom>
          </p:spPr>
        </p:pic>
        <p:sp>
          <p:nvSpPr>
            <p:cNvPr id="7" name="Right Arrow 6"/>
            <p:cNvSpPr/>
            <p:nvPr/>
          </p:nvSpPr>
          <p:spPr>
            <a:xfrm>
              <a:off x="6370941" y="3402329"/>
              <a:ext cx="753759" cy="6172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2">
              <a:extLst>
                <a:ext uri="{FF2B5EF4-FFF2-40B4-BE49-F238E27FC236}">
                  <a16:creationId xmlns:a16="http://schemas.microsoft.com/office/drawing/2014/main" id="{4B3DCF99-4807-2F21-1158-C2E750E92F00}"/>
                </a:ext>
              </a:extLst>
            </p:cNvPr>
            <p:cNvSpPr txBox="1">
              <a:spLocks/>
            </p:cNvSpPr>
            <p:nvPr/>
          </p:nvSpPr>
          <p:spPr>
            <a:xfrm>
              <a:off x="627499" y="285749"/>
              <a:ext cx="10673771" cy="485775"/>
            </a:xfrm>
            <a:prstGeom prst="rect">
              <a:avLst/>
            </a:prstGeom>
            <a:noFill/>
            <a:ln>
              <a:noFill/>
            </a:ln>
          </p:spPr>
          <p:txBody>
            <a:bodyPr spcFirstLastPara="1" wrap="square" lIns="91425" tIns="45700" rIns="91425" bIns="45700" anchor="ctr" anchorCtr="0">
              <a:normAutofit lnSpcReduction="100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3200" b="0" dirty="0">
                  <a:solidFill>
                    <a:schemeClr val="tx1"/>
                  </a:solidFill>
                  <a:latin typeface="Berlin Sans FB" panose="020E0602020502020306" pitchFamily="34" charset="0"/>
                  <a:cs typeface="Helvetica" panose="020B0604020202020204" pitchFamily="34" charset="0"/>
                </a:rPr>
                <a:t>Correlation – Matrix   </a:t>
              </a:r>
            </a:p>
          </p:txBody>
        </p:sp>
        <p:sp>
          <p:nvSpPr>
            <p:cNvPr id="10" name="TextBox 9"/>
            <p:cNvSpPr txBox="1"/>
            <p:nvPr/>
          </p:nvSpPr>
          <p:spPr>
            <a:xfrm>
              <a:off x="808943" y="900114"/>
              <a:ext cx="4577445" cy="319864"/>
            </a:xfrm>
            <a:prstGeom prst="rect">
              <a:avLst/>
            </a:prstGeom>
            <a:noFill/>
          </p:spPr>
          <p:txBody>
            <a:bodyPr wrap="square" rtlCol="0">
              <a:spAutoFit/>
            </a:bodyPr>
            <a:lstStyle/>
            <a:p>
              <a:pPr algn="ctr"/>
              <a:r>
                <a:rPr lang="en-US" dirty="0">
                  <a:latin typeface="Futura Lt BT" panose="020B0402020204020303"/>
                </a:rPr>
                <a:t>Merged_data </a:t>
              </a:r>
              <a:endParaRPr lang="en-SG" dirty="0">
                <a:latin typeface="Futura Lt BT" panose="020B0402020204020303"/>
              </a:endParaRPr>
            </a:p>
          </p:txBody>
        </p:sp>
        <p:sp>
          <p:nvSpPr>
            <p:cNvPr id="11" name="TextBox 10"/>
            <p:cNvSpPr txBox="1"/>
            <p:nvPr/>
          </p:nvSpPr>
          <p:spPr>
            <a:xfrm>
              <a:off x="8752793" y="1779149"/>
              <a:ext cx="1621973" cy="307777"/>
            </a:xfrm>
            <a:prstGeom prst="rect">
              <a:avLst/>
            </a:prstGeom>
            <a:noFill/>
          </p:spPr>
          <p:txBody>
            <a:bodyPr wrap="square" rtlCol="0">
              <a:spAutoFit/>
            </a:bodyPr>
            <a:lstStyle/>
            <a:p>
              <a:pPr algn="ctr"/>
              <a:r>
                <a:rPr lang="en-US" dirty="0">
                  <a:latin typeface="Futura Lt BT" panose="020B0402020204020303"/>
                </a:rPr>
                <a:t>Cleaned_data </a:t>
              </a:r>
              <a:endParaRPr lang="en-SG" dirty="0">
                <a:latin typeface="Futura Lt BT" panose="020B0402020204020303"/>
              </a:endParaRPr>
            </a:p>
          </p:txBody>
        </p:sp>
      </p:grpSp>
    </p:spTree>
    <p:extLst>
      <p:ext uri="{BB962C8B-B14F-4D97-AF65-F5344CB8AC3E}">
        <p14:creationId xmlns:p14="http://schemas.microsoft.com/office/powerpoint/2010/main" val="881111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4814" y="2735765"/>
            <a:ext cx="4586703" cy="1738416"/>
          </a:xfrm>
          <a:prstGeom prst="roundRect">
            <a:avLst/>
          </a:prstGeom>
          <a:solidFill>
            <a:srgbClr val="00588A"/>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731520" rtlCol="0" anchor="ctr"/>
          <a:lstStyle/>
          <a:p>
            <a:pPr marL="285750" indent="-285750">
              <a:buClr>
                <a:schemeClr val="bg1"/>
              </a:buClr>
              <a:buFont typeface="Wingdings" panose="05000000000000000000" pitchFamily="2" charset="2"/>
              <a:buChar char="ü"/>
            </a:pPr>
            <a:endParaRPr lang="en-US" sz="1800" dirty="0">
              <a:solidFill>
                <a:schemeClr val="bg1"/>
              </a:solidFill>
              <a:latin typeface="Futura Lt BT" panose="020B0402020204020303"/>
            </a:endParaRPr>
          </a:p>
          <a:p>
            <a:pPr marL="285750" indent="-285750">
              <a:buClr>
                <a:schemeClr val="bg1"/>
              </a:buClr>
              <a:buFont typeface="Wingdings" panose="05000000000000000000" pitchFamily="2" charset="2"/>
              <a:buChar char="ü"/>
            </a:pPr>
            <a:r>
              <a:rPr lang="en-US" sz="1800" dirty="0">
                <a:solidFill>
                  <a:schemeClr val="bg1"/>
                </a:solidFill>
                <a:latin typeface="Futura Lt BT" panose="020B0402020204020303"/>
              </a:rPr>
              <a:t>ID – unique identifier will lead to overfitting</a:t>
            </a:r>
          </a:p>
          <a:p>
            <a:pPr marL="285750" indent="-285750">
              <a:buClr>
                <a:schemeClr val="bg1"/>
              </a:buClr>
              <a:buFont typeface="Wingdings" panose="05000000000000000000" pitchFamily="2" charset="2"/>
              <a:buChar char="ü"/>
            </a:pPr>
            <a:r>
              <a:rPr lang="en-US" sz="1800" dirty="0">
                <a:solidFill>
                  <a:schemeClr val="bg1"/>
                </a:solidFill>
                <a:latin typeface="Futura Lt BT" panose="020B0402020204020303"/>
              </a:rPr>
              <a:t>flag_mobil - as all the applicant has the mobile </a:t>
            </a:r>
          </a:p>
          <a:p>
            <a:pPr marL="285750" indent="-285750">
              <a:buClr>
                <a:schemeClr val="bg1"/>
              </a:buClr>
              <a:buFont typeface="Wingdings" panose="05000000000000000000" pitchFamily="2" charset="2"/>
              <a:buChar char="ü"/>
            </a:pPr>
            <a:r>
              <a:rPr lang="en-US" sz="1800" dirty="0">
                <a:solidFill>
                  <a:schemeClr val="bg1"/>
                </a:solidFill>
                <a:latin typeface="Futura Lt BT" panose="020B0402020204020303"/>
              </a:rPr>
              <a:t>cnt_children - VIF is higher than 10</a:t>
            </a:r>
          </a:p>
          <a:p>
            <a:endParaRPr lang="en-US" sz="1800" dirty="0">
              <a:solidFill>
                <a:schemeClr val="bg1"/>
              </a:solidFill>
              <a:latin typeface="Futura Lt BT" panose="020B0402020204020303"/>
            </a:endParaRPr>
          </a:p>
        </p:txBody>
      </p:sp>
      <p:grpSp>
        <p:nvGrpSpPr>
          <p:cNvPr id="20" name="Group 19"/>
          <p:cNvGrpSpPr/>
          <p:nvPr/>
        </p:nvGrpSpPr>
        <p:grpSpPr>
          <a:xfrm>
            <a:off x="5155054" y="3334609"/>
            <a:ext cx="6833746" cy="2785269"/>
            <a:chOff x="5612254" y="3476849"/>
            <a:chExt cx="6588110" cy="2637998"/>
          </a:xfrm>
        </p:grpSpPr>
        <p:sp>
          <p:nvSpPr>
            <p:cNvPr id="4" name="Rounded Rectangle 3"/>
            <p:cNvSpPr/>
            <p:nvPr/>
          </p:nvSpPr>
          <p:spPr>
            <a:xfrm>
              <a:off x="6954745" y="3675778"/>
              <a:ext cx="5245619" cy="2172571"/>
            </a:xfrm>
            <a:prstGeom prst="roundRect">
              <a:avLst/>
            </a:prstGeom>
            <a:solidFill>
              <a:srgbClr val="68B8D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97280" rtlCol="0" anchor="ctr"/>
            <a:lstStyle/>
            <a:p>
              <a:pPr lvl="0"/>
              <a:endParaRPr lang="en-US" dirty="0">
                <a:solidFill>
                  <a:schemeClr val="tx1"/>
                </a:solidFill>
                <a:latin typeface="Futura Lt BT" panose="020B0402020204020303"/>
              </a:endParaRPr>
            </a:p>
            <a:p>
              <a:pPr lvl="0"/>
              <a:r>
                <a:rPr lang="en-US" dirty="0">
                  <a:solidFill>
                    <a:schemeClr val="tx1"/>
                  </a:solidFill>
                  <a:latin typeface="Futura Lt BT" panose="020B0402020204020303"/>
                </a:rPr>
                <a:t> </a:t>
              </a:r>
            </a:p>
            <a:p>
              <a:pPr marL="285750" lvl="0" indent="-285750">
                <a:buFont typeface="Wingdings" panose="05000000000000000000" pitchFamily="2" charset="2"/>
                <a:buChar char="ü"/>
              </a:pPr>
              <a:r>
                <a:rPr lang="en-US" sz="1600" dirty="0">
                  <a:solidFill>
                    <a:schemeClr val="tx1"/>
                  </a:solidFill>
                  <a:latin typeface="Futura Lt BT" panose="020B0402020204020303"/>
                </a:rPr>
                <a:t> code_gender      </a:t>
              </a:r>
              <a:r>
                <a:rPr lang="en-US" sz="1600" dirty="0">
                  <a:solidFill>
                    <a:schemeClr val="tx1"/>
                  </a:solidFill>
                  <a:latin typeface="Futura Lt BT" panose="020B0402020204020303"/>
                  <a:sym typeface="Wingdings" panose="05000000000000000000" pitchFamily="2" charset="2"/>
                </a:rPr>
                <a:t> </a:t>
              </a:r>
              <a:r>
                <a:rPr lang="en-US" sz="1600" dirty="0">
                  <a:solidFill>
                    <a:schemeClr val="tx1"/>
                  </a:solidFill>
                  <a:latin typeface="Futura Lt BT" panose="020B0402020204020303"/>
                </a:rPr>
                <a:t>name_housing_type</a:t>
              </a:r>
            </a:p>
            <a:p>
              <a:pPr marL="285750" lvl="0" indent="-285750">
                <a:buFont typeface="Wingdings" panose="05000000000000000000" pitchFamily="2" charset="2"/>
                <a:buChar char="ü"/>
              </a:pPr>
              <a:r>
                <a:rPr lang="en-US" sz="1600" dirty="0">
                  <a:solidFill>
                    <a:schemeClr val="tx1"/>
                  </a:solidFill>
                  <a:latin typeface="Futura Lt BT" panose="020B0402020204020303"/>
                </a:rPr>
                <a:t> flag_own_car      </a:t>
              </a:r>
              <a:r>
                <a:rPr lang="en-US" sz="1600" dirty="0">
                  <a:solidFill>
                    <a:schemeClr val="tx1"/>
                  </a:solidFill>
                  <a:latin typeface="Futura Lt BT" panose="020B0402020204020303"/>
                  <a:sym typeface="Wingdings" panose="05000000000000000000" pitchFamily="2" charset="2"/>
                </a:rPr>
                <a:t></a:t>
              </a:r>
              <a:r>
                <a:rPr lang="en-US" sz="1600" dirty="0">
                  <a:solidFill>
                    <a:schemeClr val="tx1"/>
                  </a:solidFill>
                  <a:latin typeface="Futura Lt BT" panose="020B0402020204020303"/>
                </a:rPr>
                <a:t> flag_work_phone </a:t>
              </a:r>
            </a:p>
            <a:p>
              <a:pPr marL="285750" lvl="0" indent="-285750">
                <a:buFont typeface="Wingdings" panose="05000000000000000000" pitchFamily="2" charset="2"/>
                <a:buChar char="ü"/>
              </a:pPr>
              <a:r>
                <a:rPr lang="en-US" sz="1600" dirty="0">
                  <a:solidFill>
                    <a:schemeClr val="tx1"/>
                  </a:solidFill>
                  <a:latin typeface="Futura Lt BT" panose="020B0402020204020303"/>
                </a:rPr>
                <a:t> flag_own_realty   </a:t>
              </a:r>
              <a:r>
                <a:rPr lang="en-US" sz="1600" dirty="0">
                  <a:solidFill>
                    <a:schemeClr val="tx1"/>
                  </a:solidFill>
                  <a:latin typeface="Futura Lt BT" panose="020B0402020204020303"/>
                  <a:sym typeface="Wingdings" panose="05000000000000000000" pitchFamily="2" charset="2"/>
                </a:rPr>
                <a:t> </a:t>
              </a:r>
              <a:r>
                <a:rPr lang="en-US" sz="1600" dirty="0">
                  <a:solidFill>
                    <a:schemeClr val="tx1"/>
                  </a:solidFill>
                  <a:latin typeface="Futura Lt BT" panose="020B0402020204020303"/>
                </a:rPr>
                <a:t>occupation_type 	 </a:t>
              </a:r>
            </a:p>
            <a:p>
              <a:pPr marL="285750" indent="-285750">
                <a:buFont typeface="Wingdings" panose="05000000000000000000" pitchFamily="2" charset="2"/>
                <a:buChar char="ü"/>
              </a:pPr>
              <a:r>
                <a:rPr lang="en-US" sz="1600" dirty="0">
                  <a:solidFill>
                    <a:schemeClr val="tx1"/>
                  </a:solidFill>
                  <a:latin typeface="Futura Lt BT" panose="020B0402020204020303"/>
                </a:rPr>
                <a:t> flag_phone         </a:t>
              </a:r>
              <a:r>
                <a:rPr lang="en-US" sz="1600" dirty="0">
                  <a:solidFill>
                    <a:schemeClr val="tx1"/>
                  </a:solidFill>
                  <a:latin typeface="Futura Lt BT" panose="020B0402020204020303"/>
                  <a:sym typeface="Wingdings" panose="05000000000000000000" pitchFamily="2" charset="2"/>
                </a:rPr>
                <a:t> </a:t>
              </a:r>
              <a:r>
                <a:rPr lang="en-US" sz="1600" dirty="0">
                  <a:solidFill>
                    <a:schemeClr val="tx1"/>
                  </a:solidFill>
                  <a:latin typeface="Futura Lt BT" panose="020B0402020204020303"/>
                </a:rPr>
                <a:t>name_income_type</a:t>
              </a:r>
            </a:p>
            <a:p>
              <a:pPr marL="285750" lvl="0" indent="-285750">
                <a:buFont typeface="Wingdings" panose="05000000000000000000" pitchFamily="2" charset="2"/>
                <a:buChar char="ü"/>
              </a:pPr>
              <a:r>
                <a:rPr lang="en-US" sz="1600" dirty="0">
                  <a:solidFill>
                    <a:schemeClr val="tx1"/>
                  </a:solidFill>
                  <a:latin typeface="Futura Lt BT" panose="020B0402020204020303"/>
                </a:rPr>
                <a:t> flag_email          </a:t>
              </a:r>
              <a:r>
                <a:rPr lang="en-US" sz="1600" dirty="0">
                  <a:solidFill>
                    <a:schemeClr val="tx1"/>
                  </a:solidFill>
                  <a:latin typeface="Futura Lt BT" panose="020B0402020204020303"/>
                  <a:sym typeface="Wingdings" panose="05000000000000000000" pitchFamily="2" charset="2"/>
                </a:rPr>
                <a:t> </a:t>
              </a:r>
              <a:r>
                <a:rPr lang="en-US" sz="1600" dirty="0">
                  <a:solidFill>
                    <a:schemeClr val="tx1"/>
                  </a:solidFill>
                  <a:latin typeface="Futura Lt BT" panose="020B0402020204020303"/>
                </a:rPr>
                <a:t>name_family_status              </a:t>
              </a:r>
            </a:p>
            <a:p>
              <a:pPr marL="285750" indent="-285750">
                <a:buFont typeface="Wingdings" panose="05000000000000000000" pitchFamily="2" charset="2"/>
                <a:buChar char="ü"/>
              </a:pPr>
              <a:r>
                <a:rPr lang="en-US" sz="1600" dirty="0">
                  <a:solidFill>
                    <a:schemeClr val="tx1"/>
                  </a:solidFill>
                  <a:latin typeface="Futura Lt BT" panose="020B0402020204020303"/>
                </a:rPr>
                <a:t> cnt_fam_members_bkt </a:t>
              </a:r>
            </a:p>
            <a:p>
              <a:pPr marL="285750" indent="-285750">
                <a:buFont typeface="Wingdings" panose="05000000000000000000" pitchFamily="2" charset="2"/>
                <a:buChar char="ü"/>
              </a:pPr>
              <a:r>
                <a:rPr lang="en-US" sz="1600" dirty="0">
                  <a:solidFill>
                    <a:schemeClr val="tx1"/>
                  </a:solidFill>
                  <a:latin typeface="Futura Lt BT" panose="020B0402020204020303"/>
                </a:rPr>
                <a:t>name_education_type</a:t>
              </a:r>
            </a:p>
            <a:p>
              <a:endParaRPr lang="en-US" sz="1600" dirty="0">
                <a:solidFill>
                  <a:schemeClr val="tx1"/>
                </a:solidFill>
                <a:latin typeface="Futura Lt BT" panose="020B0402020204020303"/>
              </a:endParaRPr>
            </a:p>
            <a:p>
              <a:r>
                <a:rPr lang="en-US" sz="1600" dirty="0">
                  <a:solidFill>
                    <a:schemeClr val="tx1"/>
                  </a:solidFill>
                  <a:latin typeface="Futura Lt BT" panose="020B0402020204020303"/>
                </a:rPr>
                <a:t> </a:t>
              </a:r>
            </a:p>
          </p:txBody>
        </p:sp>
        <p:grpSp>
          <p:nvGrpSpPr>
            <p:cNvPr id="6" name="Group 5"/>
            <p:cNvGrpSpPr/>
            <p:nvPr/>
          </p:nvGrpSpPr>
          <p:grpSpPr>
            <a:xfrm>
              <a:off x="5612254" y="3476849"/>
              <a:ext cx="2517222" cy="2637998"/>
              <a:chOff x="2725922" y="2175356"/>
              <a:chExt cx="2012950" cy="2025650"/>
            </a:xfrm>
          </p:grpSpPr>
          <p:sp>
            <p:nvSpPr>
              <p:cNvPr id="7" name="Freeform 3"/>
              <p:cNvSpPr>
                <a:spLocks/>
              </p:cNvSpPr>
              <p:nvPr>
                <p:custDataLst>
                  <p:tags r:id="rId5"/>
                </p:custDataLst>
              </p:nvPr>
            </p:nvSpPr>
            <p:spPr bwMode="gray">
              <a:xfrm rot="21266087">
                <a:off x="2725922" y="2175356"/>
                <a:ext cx="2012950" cy="2025650"/>
              </a:xfrm>
              <a:custGeom>
                <a:avLst/>
                <a:gdLst>
                  <a:gd name="T0" fmla="*/ 2147483647 w 1050"/>
                  <a:gd name="T1" fmla="*/ 2147483647 h 1049"/>
                  <a:gd name="T2" fmla="*/ 2147483647 w 1050"/>
                  <a:gd name="T3" fmla="*/ 2147483647 h 1049"/>
                  <a:gd name="T4" fmla="*/ 2147483647 w 1050"/>
                  <a:gd name="T5" fmla="*/ 2147483647 h 1049"/>
                  <a:gd name="T6" fmla="*/ 2147483647 w 1050"/>
                  <a:gd name="T7" fmla="*/ 2147483647 h 1049"/>
                  <a:gd name="T8" fmla="*/ 2147483647 w 1050"/>
                  <a:gd name="T9" fmla="*/ 2147483647 h 1049"/>
                  <a:gd name="T10" fmla="*/ 2147483647 w 1050"/>
                  <a:gd name="T11" fmla="*/ 2147483647 h 1049"/>
                  <a:gd name="T12" fmla="*/ 2147483647 w 1050"/>
                  <a:gd name="T13" fmla="*/ 2147483647 h 1049"/>
                  <a:gd name="T14" fmla="*/ 2147483647 w 1050"/>
                  <a:gd name="T15" fmla="*/ 2147483647 h 1049"/>
                  <a:gd name="T16" fmla="*/ 2147483647 w 1050"/>
                  <a:gd name="T17" fmla="*/ 2147483647 h 1049"/>
                  <a:gd name="T18" fmla="*/ 2147483647 w 1050"/>
                  <a:gd name="T19" fmla="*/ 2147483647 h 1049"/>
                  <a:gd name="T20" fmla="*/ 2147483647 w 1050"/>
                  <a:gd name="T21" fmla="*/ 2147483647 h 1049"/>
                  <a:gd name="T22" fmla="*/ 2147483647 w 1050"/>
                  <a:gd name="T23" fmla="*/ 2147483647 h 1049"/>
                  <a:gd name="T24" fmla="*/ 2147483647 w 1050"/>
                  <a:gd name="T25" fmla="*/ 2147483647 h 1049"/>
                  <a:gd name="T26" fmla="*/ 2147483647 w 1050"/>
                  <a:gd name="T27" fmla="*/ 2147483647 h 1049"/>
                  <a:gd name="T28" fmla="*/ 0 w 1050"/>
                  <a:gd name="T29" fmla="*/ 2147483647 h 1049"/>
                  <a:gd name="T30" fmla="*/ 2147483647 w 1050"/>
                  <a:gd name="T31" fmla="*/ 2147483647 h 1049"/>
                  <a:gd name="T32" fmla="*/ 2147483647 w 1050"/>
                  <a:gd name="T33" fmla="*/ 2147483647 h 1049"/>
                  <a:gd name="T34" fmla="*/ 2147483647 w 1050"/>
                  <a:gd name="T35" fmla="*/ 2147483647 h 1049"/>
                  <a:gd name="T36" fmla="*/ 2147483647 w 1050"/>
                  <a:gd name="T37" fmla="*/ 2147483647 h 1049"/>
                  <a:gd name="T38" fmla="*/ 2147483647 w 1050"/>
                  <a:gd name="T39" fmla="*/ 2147483647 h 1049"/>
                  <a:gd name="T40" fmla="*/ 2147483647 w 1050"/>
                  <a:gd name="T41" fmla="*/ 2147483647 h 1049"/>
                  <a:gd name="T42" fmla="*/ 2147483647 w 1050"/>
                  <a:gd name="T43" fmla="*/ 2147483647 h 1049"/>
                  <a:gd name="T44" fmla="*/ 2147483647 w 1050"/>
                  <a:gd name="T45" fmla="*/ 2147483647 h 1049"/>
                  <a:gd name="T46" fmla="*/ 2147483647 w 1050"/>
                  <a:gd name="T47" fmla="*/ 2147483647 h 1049"/>
                  <a:gd name="T48" fmla="*/ 2147483647 w 1050"/>
                  <a:gd name="T49" fmla="*/ 2147483647 h 1049"/>
                  <a:gd name="T50" fmla="*/ 2147483647 w 1050"/>
                  <a:gd name="T51" fmla="*/ 2147483647 h 1049"/>
                  <a:gd name="T52" fmla="*/ 2147483647 w 1050"/>
                  <a:gd name="T53" fmla="*/ 0 h 1049"/>
                  <a:gd name="T54" fmla="*/ 2147483647 w 1050"/>
                  <a:gd name="T55" fmla="*/ 2147483647 h 1049"/>
                  <a:gd name="T56" fmla="*/ 2147483647 w 1050"/>
                  <a:gd name="T57" fmla="*/ 2147483647 h 1049"/>
                  <a:gd name="T58" fmla="*/ 2147483647 w 1050"/>
                  <a:gd name="T59" fmla="*/ 2147483647 h 1049"/>
                  <a:gd name="T60" fmla="*/ 2147483647 w 1050"/>
                  <a:gd name="T61" fmla="*/ 2147483647 h 1049"/>
                  <a:gd name="T62" fmla="*/ 2147483647 w 1050"/>
                  <a:gd name="T63" fmla="*/ 2147483647 h 1049"/>
                  <a:gd name="T64" fmla="*/ 2147483647 w 1050"/>
                  <a:gd name="T65" fmla="*/ 2147483647 h 1049"/>
                  <a:gd name="T66" fmla="*/ 2147483647 w 1050"/>
                  <a:gd name="T67" fmla="*/ 2147483647 h 1049"/>
                  <a:gd name="T68" fmla="*/ 2147483647 w 1050"/>
                  <a:gd name="T69" fmla="*/ 2147483647 h 1049"/>
                  <a:gd name="T70" fmla="*/ 2147483647 w 1050"/>
                  <a:gd name="T71" fmla="*/ 2147483647 h 1049"/>
                  <a:gd name="T72" fmla="*/ 2147483647 w 1050"/>
                  <a:gd name="T73" fmla="*/ 2147483647 h 1049"/>
                  <a:gd name="T74" fmla="*/ 2147483647 w 1050"/>
                  <a:gd name="T75" fmla="*/ 2147483647 h 1049"/>
                  <a:gd name="T76" fmla="*/ 2147483647 w 1050"/>
                  <a:gd name="T77" fmla="*/ 2147483647 h 1049"/>
                  <a:gd name="T78" fmla="*/ 2147483647 w 1050"/>
                  <a:gd name="T79" fmla="*/ 2147483647 h 1049"/>
                  <a:gd name="T80" fmla="*/ 2147483647 w 1050"/>
                  <a:gd name="T81" fmla="*/ 2147483647 h 1049"/>
                  <a:gd name="T82" fmla="*/ 2147483647 w 1050"/>
                  <a:gd name="T83" fmla="*/ 2147483647 h 1049"/>
                  <a:gd name="T84" fmla="*/ 2147483647 w 1050"/>
                  <a:gd name="T85" fmla="*/ 2147483647 h 10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50"/>
                  <a:gd name="T130" fmla="*/ 0 h 1049"/>
                  <a:gd name="T131" fmla="*/ 1050 w 1050"/>
                  <a:gd name="T132" fmla="*/ 1049 h 10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50" h="1049">
                    <a:moveTo>
                      <a:pt x="888" y="911"/>
                    </a:moveTo>
                    <a:lnTo>
                      <a:pt x="820" y="888"/>
                    </a:lnTo>
                    <a:lnTo>
                      <a:pt x="800" y="903"/>
                    </a:lnTo>
                    <a:lnTo>
                      <a:pt x="780" y="917"/>
                    </a:lnTo>
                    <a:lnTo>
                      <a:pt x="781" y="988"/>
                    </a:lnTo>
                    <a:lnTo>
                      <a:pt x="766" y="996"/>
                    </a:lnTo>
                    <a:lnTo>
                      <a:pt x="751" y="1003"/>
                    </a:lnTo>
                    <a:lnTo>
                      <a:pt x="694" y="961"/>
                    </a:lnTo>
                    <a:lnTo>
                      <a:pt x="671" y="969"/>
                    </a:lnTo>
                    <a:lnTo>
                      <a:pt x="658" y="972"/>
                    </a:lnTo>
                    <a:lnTo>
                      <a:pt x="646" y="976"/>
                    </a:lnTo>
                    <a:lnTo>
                      <a:pt x="625" y="1044"/>
                    </a:lnTo>
                    <a:lnTo>
                      <a:pt x="592" y="1049"/>
                    </a:lnTo>
                    <a:lnTo>
                      <a:pt x="551" y="991"/>
                    </a:lnTo>
                    <a:lnTo>
                      <a:pt x="526" y="991"/>
                    </a:lnTo>
                    <a:lnTo>
                      <a:pt x="501" y="991"/>
                    </a:lnTo>
                    <a:lnTo>
                      <a:pt x="460" y="1049"/>
                    </a:lnTo>
                    <a:lnTo>
                      <a:pt x="443" y="1047"/>
                    </a:lnTo>
                    <a:lnTo>
                      <a:pt x="426" y="1044"/>
                    </a:lnTo>
                    <a:lnTo>
                      <a:pt x="405" y="976"/>
                    </a:lnTo>
                    <a:lnTo>
                      <a:pt x="381" y="969"/>
                    </a:lnTo>
                    <a:lnTo>
                      <a:pt x="369" y="965"/>
                    </a:lnTo>
                    <a:lnTo>
                      <a:pt x="358" y="961"/>
                    </a:lnTo>
                    <a:lnTo>
                      <a:pt x="301" y="1003"/>
                    </a:lnTo>
                    <a:lnTo>
                      <a:pt x="286" y="996"/>
                    </a:lnTo>
                    <a:lnTo>
                      <a:pt x="271" y="988"/>
                    </a:lnTo>
                    <a:lnTo>
                      <a:pt x="272" y="917"/>
                    </a:lnTo>
                    <a:lnTo>
                      <a:pt x="252" y="903"/>
                    </a:lnTo>
                    <a:lnTo>
                      <a:pt x="242" y="895"/>
                    </a:lnTo>
                    <a:lnTo>
                      <a:pt x="232" y="888"/>
                    </a:lnTo>
                    <a:lnTo>
                      <a:pt x="164" y="911"/>
                    </a:lnTo>
                    <a:lnTo>
                      <a:pt x="152" y="899"/>
                    </a:lnTo>
                    <a:lnTo>
                      <a:pt x="140" y="886"/>
                    </a:lnTo>
                    <a:lnTo>
                      <a:pt x="163" y="818"/>
                    </a:lnTo>
                    <a:lnTo>
                      <a:pt x="148" y="799"/>
                    </a:lnTo>
                    <a:lnTo>
                      <a:pt x="134" y="778"/>
                    </a:lnTo>
                    <a:lnTo>
                      <a:pt x="63" y="779"/>
                    </a:lnTo>
                    <a:lnTo>
                      <a:pt x="55" y="765"/>
                    </a:lnTo>
                    <a:lnTo>
                      <a:pt x="47" y="750"/>
                    </a:lnTo>
                    <a:lnTo>
                      <a:pt x="90" y="693"/>
                    </a:lnTo>
                    <a:lnTo>
                      <a:pt x="82" y="669"/>
                    </a:lnTo>
                    <a:lnTo>
                      <a:pt x="78" y="657"/>
                    </a:lnTo>
                    <a:lnTo>
                      <a:pt x="75" y="645"/>
                    </a:lnTo>
                    <a:lnTo>
                      <a:pt x="6" y="623"/>
                    </a:lnTo>
                    <a:lnTo>
                      <a:pt x="0" y="590"/>
                    </a:lnTo>
                    <a:lnTo>
                      <a:pt x="60" y="549"/>
                    </a:lnTo>
                    <a:lnTo>
                      <a:pt x="59" y="524"/>
                    </a:lnTo>
                    <a:lnTo>
                      <a:pt x="60" y="500"/>
                    </a:lnTo>
                    <a:lnTo>
                      <a:pt x="0" y="459"/>
                    </a:lnTo>
                    <a:lnTo>
                      <a:pt x="3" y="442"/>
                    </a:lnTo>
                    <a:lnTo>
                      <a:pt x="6" y="426"/>
                    </a:lnTo>
                    <a:lnTo>
                      <a:pt x="75" y="405"/>
                    </a:lnTo>
                    <a:lnTo>
                      <a:pt x="82" y="380"/>
                    </a:lnTo>
                    <a:lnTo>
                      <a:pt x="86" y="368"/>
                    </a:lnTo>
                    <a:lnTo>
                      <a:pt x="90" y="356"/>
                    </a:lnTo>
                    <a:lnTo>
                      <a:pt x="47" y="299"/>
                    </a:lnTo>
                    <a:lnTo>
                      <a:pt x="55" y="284"/>
                    </a:lnTo>
                    <a:lnTo>
                      <a:pt x="63" y="270"/>
                    </a:lnTo>
                    <a:lnTo>
                      <a:pt x="134" y="271"/>
                    </a:lnTo>
                    <a:lnTo>
                      <a:pt x="148" y="250"/>
                    </a:lnTo>
                    <a:lnTo>
                      <a:pt x="155" y="240"/>
                    </a:lnTo>
                    <a:lnTo>
                      <a:pt x="163" y="231"/>
                    </a:lnTo>
                    <a:lnTo>
                      <a:pt x="140" y="163"/>
                    </a:lnTo>
                    <a:lnTo>
                      <a:pt x="152" y="151"/>
                    </a:lnTo>
                    <a:lnTo>
                      <a:pt x="164" y="139"/>
                    </a:lnTo>
                    <a:lnTo>
                      <a:pt x="232" y="162"/>
                    </a:lnTo>
                    <a:lnTo>
                      <a:pt x="252" y="147"/>
                    </a:lnTo>
                    <a:lnTo>
                      <a:pt x="272" y="133"/>
                    </a:lnTo>
                    <a:lnTo>
                      <a:pt x="271" y="61"/>
                    </a:lnTo>
                    <a:lnTo>
                      <a:pt x="286" y="53"/>
                    </a:lnTo>
                    <a:lnTo>
                      <a:pt x="301" y="46"/>
                    </a:lnTo>
                    <a:lnTo>
                      <a:pt x="358" y="88"/>
                    </a:lnTo>
                    <a:lnTo>
                      <a:pt x="381" y="80"/>
                    </a:lnTo>
                    <a:lnTo>
                      <a:pt x="393" y="76"/>
                    </a:lnTo>
                    <a:lnTo>
                      <a:pt x="405" y="73"/>
                    </a:lnTo>
                    <a:lnTo>
                      <a:pt x="426" y="5"/>
                    </a:lnTo>
                    <a:lnTo>
                      <a:pt x="460" y="0"/>
                    </a:lnTo>
                    <a:lnTo>
                      <a:pt x="501" y="58"/>
                    </a:lnTo>
                    <a:lnTo>
                      <a:pt x="526" y="57"/>
                    </a:lnTo>
                    <a:lnTo>
                      <a:pt x="551" y="58"/>
                    </a:lnTo>
                    <a:lnTo>
                      <a:pt x="592" y="0"/>
                    </a:lnTo>
                    <a:lnTo>
                      <a:pt x="608" y="2"/>
                    </a:lnTo>
                    <a:lnTo>
                      <a:pt x="625" y="5"/>
                    </a:lnTo>
                    <a:lnTo>
                      <a:pt x="646" y="73"/>
                    </a:lnTo>
                    <a:lnTo>
                      <a:pt x="671" y="80"/>
                    </a:lnTo>
                    <a:lnTo>
                      <a:pt x="682" y="84"/>
                    </a:lnTo>
                    <a:lnTo>
                      <a:pt x="694" y="88"/>
                    </a:lnTo>
                    <a:lnTo>
                      <a:pt x="751" y="46"/>
                    </a:lnTo>
                    <a:lnTo>
                      <a:pt x="766" y="53"/>
                    </a:lnTo>
                    <a:lnTo>
                      <a:pt x="781" y="61"/>
                    </a:lnTo>
                    <a:lnTo>
                      <a:pt x="780" y="133"/>
                    </a:lnTo>
                    <a:lnTo>
                      <a:pt x="800" y="147"/>
                    </a:lnTo>
                    <a:lnTo>
                      <a:pt x="810" y="155"/>
                    </a:lnTo>
                    <a:lnTo>
                      <a:pt x="820" y="162"/>
                    </a:lnTo>
                    <a:lnTo>
                      <a:pt x="888" y="139"/>
                    </a:lnTo>
                    <a:lnTo>
                      <a:pt x="900" y="151"/>
                    </a:lnTo>
                    <a:lnTo>
                      <a:pt x="912" y="163"/>
                    </a:lnTo>
                    <a:lnTo>
                      <a:pt x="889" y="231"/>
                    </a:lnTo>
                    <a:lnTo>
                      <a:pt x="904" y="250"/>
                    </a:lnTo>
                    <a:lnTo>
                      <a:pt x="918" y="271"/>
                    </a:lnTo>
                    <a:lnTo>
                      <a:pt x="989" y="270"/>
                    </a:lnTo>
                    <a:lnTo>
                      <a:pt x="997" y="284"/>
                    </a:lnTo>
                    <a:lnTo>
                      <a:pt x="1005" y="299"/>
                    </a:lnTo>
                    <a:lnTo>
                      <a:pt x="962" y="356"/>
                    </a:lnTo>
                    <a:lnTo>
                      <a:pt x="970" y="380"/>
                    </a:lnTo>
                    <a:lnTo>
                      <a:pt x="974" y="393"/>
                    </a:lnTo>
                    <a:lnTo>
                      <a:pt x="977" y="405"/>
                    </a:lnTo>
                    <a:lnTo>
                      <a:pt x="1045" y="426"/>
                    </a:lnTo>
                    <a:lnTo>
                      <a:pt x="1050" y="459"/>
                    </a:lnTo>
                    <a:lnTo>
                      <a:pt x="992" y="500"/>
                    </a:lnTo>
                    <a:lnTo>
                      <a:pt x="993" y="524"/>
                    </a:lnTo>
                    <a:lnTo>
                      <a:pt x="992" y="549"/>
                    </a:lnTo>
                    <a:lnTo>
                      <a:pt x="1050" y="590"/>
                    </a:lnTo>
                    <a:lnTo>
                      <a:pt x="1048" y="607"/>
                    </a:lnTo>
                    <a:lnTo>
                      <a:pt x="1045" y="623"/>
                    </a:lnTo>
                    <a:lnTo>
                      <a:pt x="977" y="645"/>
                    </a:lnTo>
                    <a:lnTo>
                      <a:pt x="970" y="669"/>
                    </a:lnTo>
                    <a:lnTo>
                      <a:pt x="966" y="681"/>
                    </a:lnTo>
                    <a:lnTo>
                      <a:pt x="962" y="693"/>
                    </a:lnTo>
                    <a:lnTo>
                      <a:pt x="1005" y="750"/>
                    </a:lnTo>
                    <a:lnTo>
                      <a:pt x="997" y="765"/>
                    </a:lnTo>
                    <a:lnTo>
                      <a:pt x="989" y="779"/>
                    </a:lnTo>
                    <a:lnTo>
                      <a:pt x="918" y="778"/>
                    </a:lnTo>
                    <a:lnTo>
                      <a:pt x="904" y="799"/>
                    </a:lnTo>
                    <a:lnTo>
                      <a:pt x="897" y="809"/>
                    </a:lnTo>
                    <a:lnTo>
                      <a:pt x="889" y="818"/>
                    </a:lnTo>
                    <a:lnTo>
                      <a:pt x="912" y="886"/>
                    </a:lnTo>
                    <a:lnTo>
                      <a:pt x="900" y="899"/>
                    </a:lnTo>
                    <a:lnTo>
                      <a:pt x="888" y="911"/>
                    </a:lnTo>
                    <a:close/>
                  </a:path>
                </a:pathLst>
              </a:custGeom>
              <a:solidFill>
                <a:srgbClr val="FFC822"/>
              </a:solidFill>
              <a:ln w="12700">
                <a:solidFill>
                  <a:schemeClr val="bg1">
                    <a:lumMod val="85000"/>
                  </a:schemeClr>
                </a:solidFill>
                <a:round/>
                <a:headEnd/>
                <a:tailEnd/>
              </a:ln>
              <a:effectLst>
                <a:outerShdw blurRad="50800" dist="38100" dir="2700000" algn="tl" rotWithShape="0">
                  <a:prstClr val="black">
                    <a:alpha val="40000"/>
                  </a:prstClr>
                </a:outerShdw>
              </a:effectLst>
            </p:spPr>
            <p:txBody>
              <a:bodyPr/>
              <a:lstStyle/>
              <a:p>
                <a:pPr>
                  <a:defRPr/>
                </a:pPr>
                <a:endParaRPr lang="en-US" sz="1600" dirty="0">
                  <a:latin typeface="Arial" charset="0"/>
                </a:endParaRPr>
              </a:p>
            </p:txBody>
          </p:sp>
          <p:sp>
            <p:nvSpPr>
              <p:cNvPr id="8" name="Oval 4"/>
              <p:cNvSpPr>
                <a:spLocks noChangeArrowheads="1"/>
              </p:cNvSpPr>
              <p:nvPr>
                <p:custDataLst>
                  <p:tags r:id="rId6"/>
                </p:custDataLst>
              </p:nvPr>
            </p:nvSpPr>
            <p:spPr bwMode="gray">
              <a:xfrm rot="21266087">
                <a:off x="3035485" y="2483331"/>
                <a:ext cx="1393825" cy="1409700"/>
              </a:xfrm>
              <a:prstGeom prst="ellipse">
                <a:avLst/>
              </a:prstGeom>
              <a:solidFill>
                <a:schemeClr val="bg1">
                  <a:lumMod val="95000"/>
                </a:schemeClr>
              </a:solidFill>
              <a:ln w="28575">
                <a:solidFill>
                  <a:schemeClr val="bg1"/>
                </a:solidFill>
                <a:round/>
                <a:headEnd/>
                <a:tailEnd/>
              </a:ln>
            </p:spPr>
            <p:txBody>
              <a:bodyPr/>
              <a:lstStyle/>
              <a:p>
                <a:pPr eaLnBrk="0" hangingPunct="0">
                  <a:defRPr/>
                </a:pPr>
                <a:endParaRPr lang="en-US" sz="1600" dirty="0">
                  <a:latin typeface="Arial" charset="0"/>
                </a:endParaRPr>
              </a:p>
            </p:txBody>
          </p:sp>
          <p:sp>
            <p:nvSpPr>
              <p:cNvPr id="9" name="Content Placeholder 16"/>
              <p:cNvSpPr txBox="1">
                <a:spLocks/>
              </p:cNvSpPr>
              <p:nvPr/>
            </p:nvSpPr>
            <p:spPr bwMode="gray">
              <a:xfrm>
                <a:off x="3133121" y="3007401"/>
                <a:ext cx="1242315" cy="485509"/>
              </a:xfrm>
              <a:prstGeom prst="rect">
                <a:avLst/>
              </a:prstGeom>
              <a:noFill/>
              <a:ln w="9525">
                <a:noFill/>
                <a:miter lim="800000"/>
                <a:headEnd/>
                <a:tailEnd/>
              </a:ln>
            </p:spPr>
            <p:txBody>
              <a:bodyPr lIns="59267" tIns="59267" rIns="59267" bIns="59267" anchor="ctr"/>
              <a:lstStyle/>
              <a:p>
                <a:pPr algn="ctr" eaLnBrk="0" hangingPunct="0">
                  <a:spcBef>
                    <a:spcPct val="25000"/>
                  </a:spcBef>
                  <a:spcAft>
                    <a:spcPct val="25000"/>
                  </a:spcAft>
                  <a:buClr>
                    <a:srgbClr val="F77F00"/>
                  </a:buClr>
                  <a:buSzPct val="100000"/>
                  <a:buFont typeface="Wingdings" pitchFamily="2" charset="2"/>
                  <a:buNone/>
                  <a:defRPr/>
                </a:pPr>
                <a:r>
                  <a:rPr lang="en-US" sz="1800" dirty="0">
                    <a:solidFill>
                      <a:srgbClr val="00588A"/>
                    </a:solidFill>
                    <a:latin typeface="Berlin Sans FB" panose="020E0602020502020306" pitchFamily="34" charset="0"/>
                  </a:rPr>
                  <a:t>Independent Variables </a:t>
                </a:r>
              </a:p>
            </p:txBody>
          </p:sp>
        </p:grpSp>
      </p:grpSp>
      <p:grpSp>
        <p:nvGrpSpPr>
          <p:cNvPr id="10" name="Group 9"/>
          <p:cNvGrpSpPr/>
          <p:nvPr/>
        </p:nvGrpSpPr>
        <p:grpSpPr>
          <a:xfrm>
            <a:off x="3730837" y="2583678"/>
            <a:ext cx="1816100" cy="1833033"/>
            <a:chOff x="2996247" y="2318758"/>
            <a:chExt cx="1362075" cy="1374775"/>
          </a:xfrm>
        </p:grpSpPr>
        <p:sp>
          <p:nvSpPr>
            <p:cNvPr id="11" name="Freeform 5"/>
            <p:cNvSpPr>
              <a:spLocks/>
            </p:cNvSpPr>
            <p:nvPr>
              <p:custDataLst>
                <p:tags r:id="rId3"/>
              </p:custDataLst>
            </p:nvPr>
          </p:nvSpPr>
          <p:spPr bwMode="gray">
            <a:xfrm rot="20758820">
              <a:off x="2996247" y="2318758"/>
              <a:ext cx="1362075" cy="1374775"/>
            </a:xfrm>
            <a:custGeom>
              <a:avLst/>
              <a:gdLst>
                <a:gd name="T0" fmla="*/ 2147483647 w 637"/>
                <a:gd name="T1" fmla="*/ 2147483647 h 638"/>
                <a:gd name="T2" fmla="*/ 2147483647 w 637"/>
                <a:gd name="T3" fmla="*/ 2147483647 h 638"/>
                <a:gd name="T4" fmla="*/ 2147483647 w 637"/>
                <a:gd name="T5" fmla="*/ 2147483647 h 638"/>
                <a:gd name="T6" fmla="*/ 2147483647 w 637"/>
                <a:gd name="T7" fmla="*/ 2147483647 h 638"/>
                <a:gd name="T8" fmla="*/ 2147483647 w 637"/>
                <a:gd name="T9" fmla="*/ 2147483647 h 638"/>
                <a:gd name="T10" fmla="*/ 2147483647 w 637"/>
                <a:gd name="T11" fmla="*/ 2147483647 h 638"/>
                <a:gd name="T12" fmla="*/ 2147483647 w 637"/>
                <a:gd name="T13" fmla="*/ 2147483647 h 638"/>
                <a:gd name="T14" fmla="*/ 2147483647 w 637"/>
                <a:gd name="T15" fmla="*/ 2147483647 h 638"/>
                <a:gd name="T16" fmla="*/ 2147483647 w 637"/>
                <a:gd name="T17" fmla="*/ 2147483647 h 638"/>
                <a:gd name="T18" fmla="*/ 2147483647 w 637"/>
                <a:gd name="T19" fmla="*/ 2147483647 h 638"/>
                <a:gd name="T20" fmla="*/ 2147483647 w 637"/>
                <a:gd name="T21" fmla="*/ 2147483647 h 638"/>
                <a:gd name="T22" fmla="*/ 2147483647 w 637"/>
                <a:gd name="T23" fmla="*/ 2147483647 h 638"/>
                <a:gd name="T24" fmla="*/ 2147483647 w 637"/>
                <a:gd name="T25" fmla="*/ 2147483647 h 638"/>
                <a:gd name="T26" fmla="*/ 2147483647 w 637"/>
                <a:gd name="T27" fmla="*/ 2147483647 h 638"/>
                <a:gd name="T28" fmla="*/ 2147483647 w 637"/>
                <a:gd name="T29" fmla="*/ 2147483647 h 638"/>
                <a:gd name="T30" fmla="*/ 2147483647 w 637"/>
                <a:gd name="T31" fmla="*/ 2147483647 h 638"/>
                <a:gd name="T32" fmla="*/ 0 w 637"/>
                <a:gd name="T33" fmla="*/ 2147483647 h 638"/>
                <a:gd name="T34" fmla="*/ 2147483647 w 637"/>
                <a:gd name="T35" fmla="*/ 2147483647 h 638"/>
                <a:gd name="T36" fmla="*/ 2147483647 w 637"/>
                <a:gd name="T37" fmla="*/ 2147483647 h 638"/>
                <a:gd name="T38" fmla="*/ 2147483647 w 637"/>
                <a:gd name="T39" fmla="*/ 2147483647 h 638"/>
                <a:gd name="T40" fmla="*/ 2147483647 w 637"/>
                <a:gd name="T41" fmla="*/ 2147483647 h 638"/>
                <a:gd name="T42" fmla="*/ 2147483647 w 637"/>
                <a:gd name="T43" fmla="*/ 2147483647 h 638"/>
                <a:gd name="T44" fmla="*/ 2147483647 w 637"/>
                <a:gd name="T45" fmla="*/ 2147483647 h 638"/>
                <a:gd name="T46" fmla="*/ 2147483647 w 637"/>
                <a:gd name="T47" fmla="*/ 2147483647 h 638"/>
                <a:gd name="T48" fmla="*/ 2147483647 w 637"/>
                <a:gd name="T49" fmla="*/ 2147483647 h 638"/>
                <a:gd name="T50" fmla="*/ 2147483647 w 637"/>
                <a:gd name="T51" fmla="*/ 2147483647 h 638"/>
                <a:gd name="T52" fmla="*/ 2147483647 w 637"/>
                <a:gd name="T53" fmla="*/ 2147483647 h 638"/>
                <a:gd name="T54" fmla="*/ 2147483647 w 637"/>
                <a:gd name="T55" fmla="*/ 2147483647 h 638"/>
                <a:gd name="T56" fmla="*/ 2147483647 w 637"/>
                <a:gd name="T57" fmla="*/ 2147483647 h 638"/>
                <a:gd name="T58" fmla="*/ 2147483647 w 637"/>
                <a:gd name="T59" fmla="*/ 2147483647 h 638"/>
                <a:gd name="T60" fmla="*/ 2147483647 w 637"/>
                <a:gd name="T61" fmla="*/ 2147483647 h 638"/>
                <a:gd name="T62" fmla="*/ 2147483647 w 637"/>
                <a:gd name="T63" fmla="*/ 2147483647 h 638"/>
                <a:gd name="T64" fmla="*/ 2147483647 w 637"/>
                <a:gd name="T65" fmla="*/ 2147483647 h 638"/>
                <a:gd name="T66" fmla="*/ 2147483647 w 637"/>
                <a:gd name="T67" fmla="*/ 2147483647 h 638"/>
                <a:gd name="T68" fmla="*/ 2147483647 w 637"/>
                <a:gd name="T69" fmla="*/ 2147483647 h 638"/>
                <a:gd name="T70" fmla="*/ 2147483647 w 637"/>
                <a:gd name="T71" fmla="*/ 2147483647 h 638"/>
                <a:gd name="T72" fmla="*/ 2147483647 w 637"/>
                <a:gd name="T73" fmla="*/ 2147483647 h 638"/>
                <a:gd name="T74" fmla="*/ 2147483647 w 637"/>
                <a:gd name="T75" fmla="*/ 2147483647 h 638"/>
                <a:gd name="T76" fmla="*/ 2147483647 w 637"/>
                <a:gd name="T77" fmla="*/ 2147483647 h 638"/>
                <a:gd name="T78" fmla="*/ 2147483647 w 637"/>
                <a:gd name="T79" fmla="*/ 2147483647 h 638"/>
                <a:gd name="T80" fmla="*/ 2147483647 w 637"/>
                <a:gd name="T81" fmla="*/ 2147483647 h 638"/>
                <a:gd name="T82" fmla="*/ 2147483647 w 637"/>
                <a:gd name="T83" fmla="*/ 2147483647 h 638"/>
                <a:gd name="T84" fmla="*/ 2147483647 w 637"/>
                <a:gd name="T85" fmla="*/ 2147483647 h 638"/>
                <a:gd name="T86" fmla="*/ 2147483647 w 637"/>
                <a:gd name="T87" fmla="*/ 2147483647 h 638"/>
                <a:gd name="T88" fmla="*/ 2147483647 w 637"/>
                <a:gd name="T89" fmla="*/ 2147483647 h 638"/>
                <a:gd name="T90" fmla="*/ 2147483647 w 637"/>
                <a:gd name="T91" fmla="*/ 2147483647 h 638"/>
                <a:gd name="T92" fmla="*/ 2147483647 w 637"/>
                <a:gd name="T93" fmla="*/ 2147483647 h 638"/>
                <a:gd name="T94" fmla="*/ 2147483647 w 637"/>
                <a:gd name="T95" fmla="*/ 2147483647 h 638"/>
                <a:gd name="T96" fmla="*/ 2147483647 w 637"/>
                <a:gd name="T97" fmla="*/ 2147483647 h 638"/>
                <a:gd name="T98" fmla="*/ 2147483647 w 637"/>
                <a:gd name="T99" fmla="*/ 2147483647 h 638"/>
                <a:gd name="T100" fmla="*/ 2147483647 w 637"/>
                <a:gd name="T101" fmla="*/ 2147483647 h 6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37"/>
                <a:gd name="T154" fmla="*/ 0 h 638"/>
                <a:gd name="T155" fmla="*/ 637 w 637"/>
                <a:gd name="T156" fmla="*/ 638 h 6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37" h="638">
                  <a:moveTo>
                    <a:pt x="496" y="585"/>
                  </a:moveTo>
                  <a:lnTo>
                    <a:pt x="441" y="550"/>
                  </a:lnTo>
                  <a:lnTo>
                    <a:pt x="431" y="555"/>
                  </a:lnTo>
                  <a:lnTo>
                    <a:pt x="420" y="560"/>
                  </a:lnTo>
                  <a:lnTo>
                    <a:pt x="409" y="564"/>
                  </a:lnTo>
                  <a:lnTo>
                    <a:pt x="397" y="568"/>
                  </a:lnTo>
                  <a:lnTo>
                    <a:pt x="382" y="633"/>
                  </a:lnTo>
                  <a:lnTo>
                    <a:pt x="362" y="636"/>
                  </a:lnTo>
                  <a:lnTo>
                    <a:pt x="342" y="638"/>
                  </a:lnTo>
                  <a:lnTo>
                    <a:pt x="312" y="579"/>
                  </a:lnTo>
                  <a:lnTo>
                    <a:pt x="300" y="579"/>
                  </a:lnTo>
                  <a:lnTo>
                    <a:pt x="288" y="577"/>
                  </a:lnTo>
                  <a:lnTo>
                    <a:pt x="275" y="576"/>
                  </a:lnTo>
                  <a:lnTo>
                    <a:pt x="264" y="573"/>
                  </a:lnTo>
                  <a:lnTo>
                    <a:pt x="219" y="622"/>
                  </a:lnTo>
                  <a:lnTo>
                    <a:pt x="209" y="619"/>
                  </a:lnTo>
                  <a:lnTo>
                    <a:pt x="200" y="616"/>
                  </a:lnTo>
                  <a:lnTo>
                    <a:pt x="181" y="608"/>
                  </a:lnTo>
                  <a:lnTo>
                    <a:pt x="184" y="540"/>
                  </a:lnTo>
                  <a:lnTo>
                    <a:pt x="174" y="533"/>
                  </a:lnTo>
                  <a:lnTo>
                    <a:pt x="164" y="526"/>
                  </a:lnTo>
                  <a:lnTo>
                    <a:pt x="155" y="519"/>
                  </a:lnTo>
                  <a:lnTo>
                    <a:pt x="146" y="511"/>
                  </a:lnTo>
                  <a:lnTo>
                    <a:pt x="79" y="531"/>
                  </a:lnTo>
                  <a:lnTo>
                    <a:pt x="67" y="517"/>
                  </a:lnTo>
                  <a:lnTo>
                    <a:pt x="56" y="502"/>
                  </a:lnTo>
                  <a:lnTo>
                    <a:pt x="94" y="443"/>
                  </a:lnTo>
                  <a:lnTo>
                    <a:pt x="89" y="432"/>
                  </a:lnTo>
                  <a:lnTo>
                    <a:pt x="83" y="421"/>
                  </a:lnTo>
                  <a:lnTo>
                    <a:pt x="78" y="410"/>
                  </a:lnTo>
                  <a:lnTo>
                    <a:pt x="74" y="398"/>
                  </a:lnTo>
                  <a:lnTo>
                    <a:pt x="6" y="383"/>
                  </a:lnTo>
                  <a:lnTo>
                    <a:pt x="3" y="364"/>
                  </a:lnTo>
                  <a:lnTo>
                    <a:pt x="0" y="346"/>
                  </a:lnTo>
                  <a:lnTo>
                    <a:pt x="63" y="314"/>
                  </a:lnTo>
                  <a:lnTo>
                    <a:pt x="64" y="301"/>
                  </a:lnTo>
                  <a:lnTo>
                    <a:pt x="65" y="288"/>
                  </a:lnTo>
                  <a:lnTo>
                    <a:pt x="67" y="276"/>
                  </a:lnTo>
                  <a:lnTo>
                    <a:pt x="69" y="264"/>
                  </a:lnTo>
                  <a:lnTo>
                    <a:pt x="17" y="215"/>
                  </a:lnTo>
                  <a:lnTo>
                    <a:pt x="23" y="198"/>
                  </a:lnTo>
                  <a:lnTo>
                    <a:pt x="30" y="182"/>
                  </a:lnTo>
                  <a:lnTo>
                    <a:pt x="102" y="185"/>
                  </a:lnTo>
                  <a:lnTo>
                    <a:pt x="109" y="175"/>
                  </a:lnTo>
                  <a:lnTo>
                    <a:pt x="117" y="165"/>
                  </a:lnTo>
                  <a:lnTo>
                    <a:pt x="124" y="155"/>
                  </a:lnTo>
                  <a:lnTo>
                    <a:pt x="133" y="146"/>
                  </a:lnTo>
                  <a:lnTo>
                    <a:pt x="111" y="76"/>
                  </a:lnTo>
                  <a:lnTo>
                    <a:pt x="124" y="65"/>
                  </a:lnTo>
                  <a:lnTo>
                    <a:pt x="138" y="55"/>
                  </a:lnTo>
                  <a:lnTo>
                    <a:pt x="200" y="94"/>
                  </a:lnTo>
                  <a:lnTo>
                    <a:pt x="211" y="88"/>
                  </a:lnTo>
                  <a:lnTo>
                    <a:pt x="222" y="83"/>
                  </a:lnTo>
                  <a:lnTo>
                    <a:pt x="234" y="79"/>
                  </a:lnTo>
                  <a:lnTo>
                    <a:pt x="246" y="75"/>
                  </a:lnTo>
                  <a:lnTo>
                    <a:pt x="261" y="4"/>
                  </a:lnTo>
                  <a:lnTo>
                    <a:pt x="270" y="3"/>
                  </a:lnTo>
                  <a:lnTo>
                    <a:pt x="279" y="1"/>
                  </a:lnTo>
                  <a:lnTo>
                    <a:pt x="297" y="0"/>
                  </a:lnTo>
                  <a:lnTo>
                    <a:pt x="330" y="64"/>
                  </a:lnTo>
                  <a:lnTo>
                    <a:pt x="343" y="65"/>
                  </a:lnTo>
                  <a:lnTo>
                    <a:pt x="355" y="66"/>
                  </a:lnTo>
                  <a:lnTo>
                    <a:pt x="367" y="68"/>
                  </a:lnTo>
                  <a:lnTo>
                    <a:pt x="379" y="70"/>
                  </a:lnTo>
                  <a:lnTo>
                    <a:pt x="427" y="18"/>
                  </a:lnTo>
                  <a:lnTo>
                    <a:pt x="436" y="21"/>
                  </a:lnTo>
                  <a:lnTo>
                    <a:pt x="444" y="25"/>
                  </a:lnTo>
                  <a:lnTo>
                    <a:pt x="461" y="32"/>
                  </a:lnTo>
                  <a:lnTo>
                    <a:pt x="458" y="103"/>
                  </a:lnTo>
                  <a:lnTo>
                    <a:pt x="468" y="110"/>
                  </a:lnTo>
                  <a:lnTo>
                    <a:pt x="478" y="117"/>
                  </a:lnTo>
                  <a:lnTo>
                    <a:pt x="488" y="125"/>
                  </a:lnTo>
                  <a:lnTo>
                    <a:pt x="497" y="134"/>
                  </a:lnTo>
                  <a:lnTo>
                    <a:pt x="562" y="112"/>
                  </a:lnTo>
                  <a:lnTo>
                    <a:pt x="574" y="128"/>
                  </a:lnTo>
                  <a:lnTo>
                    <a:pt x="579" y="136"/>
                  </a:lnTo>
                  <a:lnTo>
                    <a:pt x="586" y="144"/>
                  </a:lnTo>
                  <a:lnTo>
                    <a:pt x="548" y="201"/>
                  </a:lnTo>
                  <a:lnTo>
                    <a:pt x="551" y="206"/>
                  </a:lnTo>
                  <a:lnTo>
                    <a:pt x="554" y="213"/>
                  </a:lnTo>
                  <a:lnTo>
                    <a:pt x="559" y="224"/>
                  </a:lnTo>
                  <a:lnTo>
                    <a:pt x="563" y="235"/>
                  </a:lnTo>
                  <a:lnTo>
                    <a:pt x="567" y="247"/>
                  </a:lnTo>
                  <a:lnTo>
                    <a:pt x="632" y="261"/>
                  </a:lnTo>
                  <a:lnTo>
                    <a:pt x="635" y="280"/>
                  </a:lnTo>
                  <a:lnTo>
                    <a:pt x="637" y="301"/>
                  </a:lnTo>
                  <a:lnTo>
                    <a:pt x="578" y="332"/>
                  </a:lnTo>
                  <a:lnTo>
                    <a:pt x="577" y="344"/>
                  </a:lnTo>
                  <a:lnTo>
                    <a:pt x="576" y="356"/>
                  </a:lnTo>
                  <a:lnTo>
                    <a:pt x="574" y="367"/>
                  </a:lnTo>
                  <a:lnTo>
                    <a:pt x="571" y="380"/>
                  </a:lnTo>
                  <a:lnTo>
                    <a:pt x="620" y="424"/>
                  </a:lnTo>
                  <a:lnTo>
                    <a:pt x="613" y="443"/>
                  </a:lnTo>
                  <a:lnTo>
                    <a:pt x="604" y="462"/>
                  </a:lnTo>
                  <a:lnTo>
                    <a:pt x="539" y="458"/>
                  </a:lnTo>
                  <a:lnTo>
                    <a:pt x="532" y="469"/>
                  </a:lnTo>
                  <a:lnTo>
                    <a:pt x="525" y="479"/>
                  </a:lnTo>
                  <a:lnTo>
                    <a:pt x="518" y="488"/>
                  </a:lnTo>
                  <a:lnTo>
                    <a:pt x="510" y="497"/>
                  </a:lnTo>
                  <a:lnTo>
                    <a:pt x="529" y="559"/>
                  </a:lnTo>
                  <a:lnTo>
                    <a:pt x="513" y="573"/>
                  </a:lnTo>
                  <a:lnTo>
                    <a:pt x="505" y="579"/>
                  </a:lnTo>
                  <a:lnTo>
                    <a:pt x="496" y="585"/>
                  </a:lnTo>
                  <a:close/>
                </a:path>
              </a:pathLst>
            </a:custGeom>
            <a:solidFill>
              <a:schemeClr val="accent2"/>
            </a:solidFill>
            <a:ln w="12700">
              <a:solidFill>
                <a:schemeClr val="bg1">
                  <a:lumMod val="85000"/>
                </a:schemeClr>
              </a:solidFill>
              <a:round/>
              <a:headEnd/>
              <a:tailEnd/>
            </a:ln>
            <a:effectLst>
              <a:outerShdw blurRad="50800" dist="38100" dir="2700000" algn="tl" rotWithShape="0">
                <a:prstClr val="black">
                  <a:alpha val="40000"/>
                </a:prstClr>
              </a:outerShdw>
            </a:effectLst>
          </p:spPr>
          <p:txBody>
            <a:bodyPr/>
            <a:lstStyle/>
            <a:p>
              <a:pPr>
                <a:defRPr/>
              </a:pPr>
              <a:endParaRPr lang="en-US" sz="1600" dirty="0">
                <a:latin typeface="Arial" charset="0"/>
              </a:endParaRPr>
            </a:p>
          </p:txBody>
        </p:sp>
        <p:sp>
          <p:nvSpPr>
            <p:cNvPr id="12" name="Oval 6"/>
            <p:cNvSpPr>
              <a:spLocks noChangeArrowheads="1"/>
            </p:cNvSpPr>
            <p:nvPr>
              <p:custDataLst>
                <p:tags r:id="rId4"/>
              </p:custDataLst>
            </p:nvPr>
          </p:nvSpPr>
          <p:spPr bwMode="gray">
            <a:xfrm rot="20758820">
              <a:off x="3266122" y="2594983"/>
              <a:ext cx="822325" cy="822325"/>
            </a:xfrm>
            <a:prstGeom prst="ellipse">
              <a:avLst/>
            </a:prstGeom>
            <a:solidFill>
              <a:schemeClr val="bg1">
                <a:lumMod val="95000"/>
              </a:schemeClr>
            </a:solidFill>
            <a:ln w="28575">
              <a:solidFill>
                <a:schemeClr val="bg1"/>
              </a:solidFill>
              <a:round/>
              <a:headEnd/>
              <a:tailEnd/>
            </a:ln>
          </p:spPr>
          <p:txBody>
            <a:bodyPr/>
            <a:lstStyle/>
            <a:p>
              <a:pPr eaLnBrk="0" hangingPunct="0">
                <a:defRPr/>
              </a:pPr>
              <a:endParaRPr lang="en-US" sz="1600" dirty="0">
                <a:latin typeface="Arial" charset="0"/>
              </a:endParaRPr>
            </a:p>
          </p:txBody>
        </p:sp>
        <p:sp>
          <p:nvSpPr>
            <p:cNvPr id="13" name="Content Placeholder 16"/>
            <p:cNvSpPr txBox="1">
              <a:spLocks/>
            </p:cNvSpPr>
            <p:nvPr/>
          </p:nvSpPr>
          <p:spPr bwMode="gray">
            <a:xfrm>
              <a:off x="3297876" y="2789457"/>
              <a:ext cx="804460" cy="465204"/>
            </a:xfrm>
            <a:prstGeom prst="rect">
              <a:avLst/>
            </a:prstGeom>
            <a:noFill/>
            <a:ln w="9525">
              <a:noFill/>
              <a:miter lim="800000"/>
              <a:headEnd/>
              <a:tailEnd/>
            </a:ln>
          </p:spPr>
          <p:txBody>
            <a:bodyPr lIns="0" tIns="0" rIns="0" bIns="0" anchor="ctr"/>
            <a:lstStyle/>
            <a:p>
              <a:pPr algn="ctr" eaLnBrk="0" hangingPunct="0">
                <a:spcBef>
                  <a:spcPct val="25000"/>
                </a:spcBef>
                <a:spcAft>
                  <a:spcPct val="25000"/>
                </a:spcAft>
                <a:buClr>
                  <a:srgbClr val="F77F00"/>
                </a:buClr>
                <a:buSzPct val="100000"/>
                <a:buFont typeface="Wingdings" pitchFamily="2" charset="2"/>
                <a:buNone/>
                <a:defRPr/>
              </a:pPr>
              <a:r>
                <a:rPr lang="en-US" sz="1800" dirty="0">
                  <a:solidFill>
                    <a:srgbClr val="36A3C9"/>
                  </a:solidFill>
                  <a:latin typeface="Berlin Sans FB" panose="020E0602020502020306" pitchFamily="34" charset="0"/>
                </a:rPr>
                <a:t>Dropped Variables </a:t>
              </a:r>
            </a:p>
          </p:txBody>
        </p:sp>
      </p:grpSp>
      <p:sp>
        <p:nvSpPr>
          <p:cNvPr id="18" name="Title 2">
            <a:extLst>
              <a:ext uri="{FF2B5EF4-FFF2-40B4-BE49-F238E27FC236}">
                <a16:creationId xmlns:a16="http://schemas.microsoft.com/office/drawing/2014/main" id="{4B3DCF99-4807-2F21-1158-C2E750E92F00}"/>
              </a:ext>
            </a:extLst>
          </p:cNvPr>
          <p:cNvSpPr txBox="1">
            <a:spLocks/>
          </p:cNvSpPr>
          <p:nvPr/>
        </p:nvSpPr>
        <p:spPr>
          <a:xfrm>
            <a:off x="675124" y="323851"/>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Variables Selection</a:t>
            </a:r>
          </a:p>
        </p:txBody>
      </p:sp>
      <p:grpSp>
        <p:nvGrpSpPr>
          <p:cNvPr id="19" name="Group 18"/>
          <p:cNvGrpSpPr/>
          <p:nvPr/>
        </p:nvGrpSpPr>
        <p:grpSpPr>
          <a:xfrm>
            <a:off x="4985060" y="1343770"/>
            <a:ext cx="5501330" cy="1945343"/>
            <a:chOff x="4985060" y="1343770"/>
            <a:chExt cx="5752030" cy="2194983"/>
          </a:xfrm>
        </p:grpSpPr>
        <p:sp>
          <p:nvSpPr>
            <p:cNvPr id="3" name="Rounded Rectangle 2"/>
            <p:cNvSpPr/>
            <p:nvPr/>
          </p:nvSpPr>
          <p:spPr>
            <a:xfrm>
              <a:off x="6236921" y="1559442"/>
              <a:ext cx="4500169" cy="1675351"/>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75360" rtlCol="0" anchor="ctr"/>
            <a:lstStyle/>
            <a:p>
              <a:pPr marL="380990" indent="-380990">
                <a:buFont typeface="Arial" panose="020B0604020202020204" pitchFamily="34" charset="0"/>
                <a:buChar char="•"/>
              </a:pPr>
              <a:endParaRPr lang="en-US" sz="1867" dirty="0">
                <a:solidFill>
                  <a:schemeClr val="bg1"/>
                </a:solidFill>
              </a:endParaRPr>
            </a:p>
          </p:txBody>
        </p:sp>
        <p:grpSp>
          <p:nvGrpSpPr>
            <p:cNvPr id="14" name="Group 13"/>
            <p:cNvGrpSpPr/>
            <p:nvPr/>
          </p:nvGrpSpPr>
          <p:grpSpPr>
            <a:xfrm>
              <a:off x="4985060" y="1343770"/>
              <a:ext cx="2173816" cy="2194983"/>
              <a:chOff x="1497013" y="3113088"/>
              <a:chExt cx="1630362" cy="1646237"/>
            </a:xfrm>
          </p:grpSpPr>
          <p:sp>
            <p:nvSpPr>
              <p:cNvPr id="15" name="Freeform 7"/>
              <p:cNvSpPr>
                <a:spLocks/>
              </p:cNvSpPr>
              <p:nvPr>
                <p:custDataLst>
                  <p:tags r:id="rId1"/>
                </p:custDataLst>
              </p:nvPr>
            </p:nvSpPr>
            <p:spPr bwMode="gray">
              <a:xfrm rot="21325832">
                <a:off x="1497013" y="3113088"/>
                <a:ext cx="1630362" cy="1646237"/>
              </a:xfrm>
              <a:custGeom>
                <a:avLst/>
                <a:gdLst>
                  <a:gd name="T0" fmla="*/ 2147483647 w 808"/>
                  <a:gd name="T1" fmla="*/ 2147483647 h 810"/>
                  <a:gd name="T2" fmla="*/ 2147483647 w 808"/>
                  <a:gd name="T3" fmla="*/ 2147483647 h 810"/>
                  <a:gd name="T4" fmla="*/ 2147483647 w 808"/>
                  <a:gd name="T5" fmla="*/ 2147483647 h 810"/>
                  <a:gd name="T6" fmla="*/ 2147483647 w 808"/>
                  <a:gd name="T7" fmla="*/ 2147483647 h 810"/>
                  <a:gd name="T8" fmla="*/ 2147483647 w 808"/>
                  <a:gd name="T9" fmla="*/ 2147483647 h 810"/>
                  <a:gd name="T10" fmla="*/ 2147483647 w 808"/>
                  <a:gd name="T11" fmla="*/ 2147483647 h 810"/>
                  <a:gd name="T12" fmla="*/ 2147483647 w 808"/>
                  <a:gd name="T13" fmla="*/ 2147483647 h 810"/>
                  <a:gd name="T14" fmla="*/ 2147483647 w 808"/>
                  <a:gd name="T15" fmla="*/ 2147483647 h 810"/>
                  <a:gd name="T16" fmla="*/ 2147483647 w 808"/>
                  <a:gd name="T17" fmla="*/ 2147483647 h 810"/>
                  <a:gd name="T18" fmla="*/ 2147483647 w 808"/>
                  <a:gd name="T19" fmla="*/ 2147483647 h 810"/>
                  <a:gd name="T20" fmla="*/ 2147483647 w 808"/>
                  <a:gd name="T21" fmla="*/ 2147483647 h 810"/>
                  <a:gd name="T22" fmla="*/ 2147483647 w 808"/>
                  <a:gd name="T23" fmla="*/ 2147483647 h 810"/>
                  <a:gd name="T24" fmla="*/ 2147483647 w 808"/>
                  <a:gd name="T25" fmla="*/ 2147483647 h 810"/>
                  <a:gd name="T26" fmla="*/ 2147483647 w 808"/>
                  <a:gd name="T27" fmla="*/ 2147483647 h 810"/>
                  <a:gd name="T28" fmla="*/ 2147483647 w 808"/>
                  <a:gd name="T29" fmla="*/ 2147483647 h 810"/>
                  <a:gd name="T30" fmla="*/ 2147483647 w 808"/>
                  <a:gd name="T31" fmla="*/ 2147483647 h 810"/>
                  <a:gd name="T32" fmla="*/ 2147483647 w 808"/>
                  <a:gd name="T33" fmla="*/ 2147483647 h 810"/>
                  <a:gd name="T34" fmla="*/ 2147483647 w 808"/>
                  <a:gd name="T35" fmla="*/ 2147483647 h 810"/>
                  <a:gd name="T36" fmla="*/ 2147483647 w 808"/>
                  <a:gd name="T37" fmla="*/ 2147483647 h 810"/>
                  <a:gd name="T38" fmla="*/ 2147483647 w 808"/>
                  <a:gd name="T39" fmla="*/ 2147483647 h 810"/>
                  <a:gd name="T40" fmla="*/ 2147483647 w 808"/>
                  <a:gd name="T41" fmla="*/ 2147483647 h 810"/>
                  <a:gd name="T42" fmla="*/ 2147483647 w 808"/>
                  <a:gd name="T43" fmla="*/ 2147483647 h 810"/>
                  <a:gd name="T44" fmla="*/ 2147483647 w 808"/>
                  <a:gd name="T45" fmla="*/ 2147483647 h 810"/>
                  <a:gd name="T46" fmla="*/ 2147483647 w 808"/>
                  <a:gd name="T47" fmla="*/ 2147483647 h 810"/>
                  <a:gd name="T48" fmla="*/ 2147483647 w 808"/>
                  <a:gd name="T49" fmla="*/ 2147483647 h 810"/>
                  <a:gd name="T50" fmla="*/ 2147483647 w 808"/>
                  <a:gd name="T51" fmla="*/ 2147483647 h 810"/>
                  <a:gd name="T52" fmla="*/ 2147483647 w 808"/>
                  <a:gd name="T53" fmla="*/ 2147483647 h 810"/>
                  <a:gd name="T54" fmla="*/ 2147483647 w 808"/>
                  <a:gd name="T55" fmla="*/ 2147483647 h 810"/>
                  <a:gd name="T56" fmla="*/ 2147483647 w 808"/>
                  <a:gd name="T57" fmla="*/ 2147483647 h 810"/>
                  <a:gd name="T58" fmla="*/ 2147483647 w 808"/>
                  <a:gd name="T59" fmla="*/ 2147483647 h 810"/>
                  <a:gd name="T60" fmla="*/ 2147483647 w 808"/>
                  <a:gd name="T61" fmla="*/ 2147483647 h 810"/>
                  <a:gd name="T62" fmla="*/ 2147483647 w 808"/>
                  <a:gd name="T63" fmla="*/ 2147483647 h 810"/>
                  <a:gd name="T64" fmla="*/ 2147483647 w 808"/>
                  <a:gd name="T65" fmla="*/ 2147483647 h 810"/>
                  <a:gd name="T66" fmla="*/ 2147483647 w 808"/>
                  <a:gd name="T67" fmla="*/ 2147483647 h 810"/>
                  <a:gd name="T68" fmla="*/ 2147483647 w 808"/>
                  <a:gd name="T69" fmla="*/ 2147483647 h 810"/>
                  <a:gd name="T70" fmla="*/ 2147483647 w 808"/>
                  <a:gd name="T71" fmla="*/ 2147483647 h 810"/>
                  <a:gd name="T72" fmla="*/ 2147483647 w 808"/>
                  <a:gd name="T73" fmla="*/ 2147483647 h 810"/>
                  <a:gd name="T74" fmla="*/ 2147483647 w 808"/>
                  <a:gd name="T75" fmla="*/ 0 h 810"/>
                  <a:gd name="T76" fmla="*/ 2147483647 w 808"/>
                  <a:gd name="T77" fmla="*/ 2147483647 h 810"/>
                  <a:gd name="T78" fmla="*/ 2147483647 w 808"/>
                  <a:gd name="T79" fmla="*/ 2147483647 h 810"/>
                  <a:gd name="T80" fmla="*/ 2147483647 w 808"/>
                  <a:gd name="T81" fmla="*/ 2147483647 h 810"/>
                  <a:gd name="T82" fmla="*/ 2147483647 w 808"/>
                  <a:gd name="T83" fmla="*/ 2147483647 h 810"/>
                  <a:gd name="T84" fmla="*/ 2147483647 w 808"/>
                  <a:gd name="T85" fmla="*/ 2147483647 h 810"/>
                  <a:gd name="T86" fmla="*/ 2147483647 w 808"/>
                  <a:gd name="T87" fmla="*/ 2147483647 h 810"/>
                  <a:gd name="T88" fmla="*/ 2147483647 w 808"/>
                  <a:gd name="T89" fmla="*/ 2147483647 h 810"/>
                  <a:gd name="T90" fmla="*/ 2147483647 w 808"/>
                  <a:gd name="T91" fmla="*/ 2147483647 h 810"/>
                  <a:gd name="T92" fmla="*/ 2147483647 w 808"/>
                  <a:gd name="T93" fmla="*/ 2147483647 h 810"/>
                  <a:gd name="T94" fmla="*/ 2147483647 w 808"/>
                  <a:gd name="T95" fmla="*/ 2147483647 h 810"/>
                  <a:gd name="T96" fmla="*/ 2147483647 w 808"/>
                  <a:gd name="T97" fmla="*/ 2147483647 h 810"/>
                  <a:gd name="T98" fmla="*/ 2147483647 w 808"/>
                  <a:gd name="T99" fmla="*/ 2147483647 h 810"/>
                  <a:gd name="T100" fmla="*/ 2147483647 w 808"/>
                  <a:gd name="T101" fmla="*/ 2147483647 h 810"/>
                  <a:gd name="T102" fmla="*/ 2147483647 w 808"/>
                  <a:gd name="T103" fmla="*/ 2147483647 h 810"/>
                  <a:gd name="T104" fmla="*/ 2147483647 w 808"/>
                  <a:gd name="T105" fmla="*/ 2147483647 h 810"/>
                  <a:gd name="T106" fmla="*/ 2147483647 w 808"/>
                  <a:gd name="T107" fmla="*/ 2147483647 h 810"/>
                  <a:gd name="T108" fmla="*/ 2147483647 w 808"/>
                  <a:gd name="T109" fmla="*/ 2147483647 h 810"/>
                  <a:gd name="T110" fmla="*/ 2147483647 w 808"/>
                  <a:gd name="T111" fmla="*/ 2147483647 h 810"/>
                  <a:gd name="T112" fmla="*/ 2147483647 w 808"/>
                  <a:gd name="T113" fmla="*/ 2147483647 h 810"/>
                  <a:gd name="T114" fmla="*/ 2147483647 w 808"/>
                  <a:gd name="T115" fmla="*/ 2147483647 h 810"/>
                  <a:gd name="T116" fmla="*/ 2147483647 w 808"/>
                  <a:gd name="T117" fmla="*/ 2147483647 h 810"/>
                  <a:gd name="T118" fmla="*/ 2147483647 w 808"/>
                  <a:gd name="T119" fmla="*/ 2147483647 h 810"/>
                  <a:gd name="T120" fmla="*/ 2147483647 w 808"/>
                  <a:gd name="T121" fmla="*/ 2147483647 h 810"/>
                  <a:gd name="T122" fmla="*/ 2147483647 w 808"/>
                  <a:gd name="T123" fmla="*/ 2147483647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6AA43E"/>
              </a:solidFill>
              <a:ln w="12700">
                <a:solidFill>
                  <a:schemeClr val="bg1">
                    <a:lumMod val="85000"/>
                  </a:schemeClr>
                </a:solidFill>
                <a:round/>
                <a:headEnd/>
                <a:tailEnd/>
              </a:ln>
              <a:effectLst>
                <a:outerShdw blurRad="50800" dist="38100" dir="2700000" algn="tl" rotWithShape="0">
                  <a:prstClr val="black">
                    <a:alpha val="40000"/>
                  </a:prstClr>
                </a:outerShdw>
              </a:effectLst>
            </p:spPr>
            <p:txBody>
              <a:bodyPr/>
              <a:lstStyle/>
              <a:p>
                <a:pPr>
                  <a:defRPr/>
                </a:pPr>
                <a:endParaRPr lang="en-US" sz="1600" dirty="0">
                  <a:latin typeface="Arial" charset="0"/>
                </a:endParaRPr>
              </a:p>
            </p:txBody>
          </p:sp>
          <p:sp>
            <p:nvSpPr>
              <p:cNvPr id="16" name="Oval 8"/>
              <p:cNvSpPr>
                <a:spLocks noChangeArrowheads="1"/>
              </p:cNvSpPr>
              <p:nvPr>
                <p:custDataLst>
                  <p:tags r:id="rId2"/>
                </p:custDataLst>
              </p:nvPr>
            </p:nvSpPr>
            <p:spPr bwMode="gray">
              <a:xfrm rot="21325832">
                <a:off x="1771650" y="3390900"/>
                <a:ext cx="1081088" cy="1090613"/>
              </a:xfrm>
              <a:prstGeom prst="ellipse">
                <a:avLst/>
              </a:prstGeom>
              <a:solidFill>
                <a:schemeClr val="bg1">
                  <a:lumMod val="95000"/>
                </a:schemeClr>
              </a:solidFill>
              <a:ln w="28575">
                <a:solidFill>
                  <a:schemeClr val="bg1"/>
                </a:solidFill>
                <a:round/>
                <a:headEnd/>
                <a:tailEnd/>
              </a:ln>
            </p:spPr>
            <p:txBody>
              <a:bodyPr/>
              <a:lstStyle/>
              <a:p>
                <a:pPr eaLnBrk="0" hangingPunct="0">
                  <a:defRPr/>
                </a:pPr>
                <a:endParaRPr lang="en-US" sz="1600" dirty="0">
                  <a:latin typeface="Arial" charset="0"/>
                </a:endParaRPr>
              </a:p>
            </p:txBody>
          </p:sp>
          <p:sp>
            <p:nvSpPr>
              <p:cNvPr id="17" name="Content Placeholder 16"/>
              <p:cNvSpPr txBox="1">
                <a:spLocks/>
              </p:cNvSpPr>
              <p:nvPr/>
            </p:nvSpPr>
            <p:spPr bwMode="gray">
              <a:xfrm>
                <a:off x="1889125" y="3748088"/>
                <a:ext cx="842963" cy="376237"/>
              </a:xfrm>
              <a:prstGeom prst="rect">
                <a:avLst/>
              </a:prstGeom>
              <a:noFill/>
              <a:ln w="9525">
                <a:noFill/>
                <a:miter lim="800000"/>
                <a:headEnd/>
                <a:tailEnd/>
              </a:ln>
            </p:spPr>
            <p:txBody>
              <a:bodyPr lIns="59267" tIns="59267" rIns="59267" bIns="59267" anchor="ctr"/>
              <a:lstStyle/>
              <a:p>
                <a:pPr algn="ctr" eaLnBrk="0" hangingPunct="0">
                  <a:spcBef>
                    <a:spcPct val="25000"/>
                  </a:spcBef>
                  <a:spcAft>
                    <a:spcPct val="25000"/>
                  </a:spcAft>
                  <a:buClr>
                    <a:srgbClr val="F77F00"/>
                  </a:buClr>
                  <a:buSzPct val="100000"/>
                  <a:buFont typeface="Wingdings" pitchFamily="2" charset="2"/>
                  <a:buNone/>
                  <a:defRPr/>
                </a:pPr>
                <a:endParaRPr lang="en-US" sz="1867" dirty="0">
                  <a:latin typeface="+mn-lt"/>
                </a:endParaRPr>
              </a:p>
            </p:txBody>
          </p:sp>
        </p:grpSp>
        <p:sp>
          <p:nvSpPr>
            <p:cNvPr id="24" name="Content Placeholder 16"/>
            <p:cNvSpPr txBox="1">
              <a:spLocks/>
            </p:cNvSpPr>
            <p:nvPr/>
          </p:nvSpPr>
          <p:spPr bwMode="gray">
            <a:xfrm>
              <a:off x="5374700" y="1984179"/>
              <a:ext cx="1379475" cy="938992"/>
            </a:xfrm>
            <a:prstGeom prst="rect">
              <a:avLst/>
            </a:prstGeom>
            <a:noFill/>
            <a:ln w="9525">
              <a:noFill/>
              <a:miter lim="800000"/>
              <a:headEnd/>
              <a:tailEnd/>
            </a:ln>
          </p:spPr>
          <p:txBody>
            <a:bodyPr lIns="59267" tIns="59267" rIns="59267" bIns="59267" anchor="ctr"/>
            <a:lstStyle/>
            <a:p>
              <a:pPr algn="ctr" eaLnBrk="0" hangingPunct="0">
                <a:spcBef>
                  <a:spcPct val="25000"/>
                </a:spcBef>
                <a:spcAft>
                  <a:spcPct val="25000"/>
                </a:spcAft>
                <a:buClr>
                  <a:srgbClr val="F77F00"/>
                </a:buClr>
                <a:buSzPct val="100000"/>
                <a:buFont typeface="Wingdings" pitchFamily="2" charset="2"/>
                <a:buNone/>
                <a:defRPr/>
              </a:pPr>
              <a:r>
                <a:rPr lang="en-US" sz="1800" dirty="0">
                  <a:solidFill>
                    <a:schemeClr val="tx1"/>
                  </a:solidFill>
                  <a:latin typeface="Berlin Sans FB" panose="020E0602020502020306" pitchFamily="34" charset="0"/>
                </a:rPr>
                <a:t>Dependent Variable</a:t>
              </a:r>
            </a:p>
          </p:txBody>
        </p:sp>
      </p:grpSp>
      <p:sp>
        <p:nvSpPr>
          <p:cNvPr id="25" name="Content Placeholder 16"/>
          <p:cNvSpPr txBox="1">
            <a:spLocks/>
          </p:cNvSpPr>
          <p:nvPr/>
        </p:nvSpPr>
        <p:spPr bwMode="gray">
          <a:xfrm>
            <a:off x="7370019" y="2142103"/>
            <a:ext cx="3238291" cy="627608"/>
          </a:xfrm>
          <a:prstGeom prst="rect">
            <a:avLst/>
          </a:prstGeom>
          <a:noFill/>
          <a:ln w="9525">
            <a:noFill/>
            <a:miter lim="800000"/>
            <a:headEnd/>
            <a:tailEnd/>
          </a:ln>
        </p:spPr>
        <p:txBody>
          <a:bodyPr lIns="59267" tIns="59267" rIns="59267" bIns="59267" anchor="ctr"/>
          <a:lstStyle/>
          <a:p>
            <a:pPr algn="ctr" eaLnBrk="0" hangingPunct="0">
              <a:spcBef>
                <a:spcPct val="25000"/>
              </a:spcBef>
              <a:spcAft>
                <a:spcPct val="25000"/>
              </a:spcAft>
              <a:buClr>
                <a:srgbClr val="F77F00"/>
              </a:buClr>
              <a:buSzPct val="100000"/>
              <a:buFont typeface="Wingdings" pitchFamily="2" charset="2"/>
              <a:buNone/>
              <a:defRPr/>
            </a:pPr>
            <a:endParaRPr lang="en-US" sz="1800" dirty="0">
              <a:solidFill>
                <a:schemeClr val="tx1"/>
              </a:solidFill>
              <a:latin typeface="Berlin Sans FB" panose="020E0602020502020306" pitchFamily="34" charset="0"/>
            </a:endParaRPr>
          </a:p>
          <a:p>
            <a:pPr marL="285750" indent="-285750" eaLnBrk="0" hangingPunct="0">
              <a:spcBef>
                <a:spcPct val="25000"/>
              </a:spcBef>
              <a:spcAft>
                <a:spcPct val="25000"/>
              </a:spcAft>
              <a:buClr>
                <a:srgbClr val="F77F00"/>
              </a:buClr>
              <a:buSzPct val="100000"/>
              <a:buFont typeface="Wingdings" panose="05000000000000000000" pitchFamily="2" charset="2"/>
              <a:buChar char="ü"/>
              <a:defRPr/>
            </a:pPr>
            <a:r>
              <a:rPr lang="en-US" sz="1600" dirty="0">
                <a:solidFill>
                  <a:schemeClr val="tx1"/>
                </a:solidFill>
                <a:latin typeface="Futura Lt BT" panose="020B0402020204020303"/>
              </a:rPr>
              <a:t>Eligible Applicant (0)</a:t>
            </a:r>
          </a:p>
          <a:p>
            <a:pPr marL="285750" indent="-285750" eaLnBrk="0" hangingPunct="0">
              <a:spcBef>
                <a:spcPct val="25000"/>
              </a:spcBef>
              <a:spcAft>
                <a:spcPct val="25000"/>
              </a:spcAft>
              <a:buClr>
                <a:srgbClr val="F77F00"/>
              </a:buClr>
              <a:buSzPct val="100000"/>
              <a:buFont typeface="Wingdings" panose="05000000000000000000" pitchFamily="2" charset="2"/>
              <a:buChar char="ü"/>
              <a:defRPr/>
            </a:pPr>
            <a:r>
              <a:rPr lang="en-US" sz="1600" dirty="0">
                <a:solidFill>
                  <a:schemeClr val="tx1"/>
                </a:solidFill>
                <a:latin typeface="Futura Lt BT" panose="020B0402020204020303"/>
              </a:rPr>
              <a:t>Non-eligible Applicant (1) </a:t>
            </a:r>
          </a:p>
          <a:p>
            <a:pPr algn="ctr" eaLnBrk="0" hangingPunct="0">
              <a:spcBef>
                <a:spcPct val="25000"/>
              </a:spcBef>
              <a:spcAft>
                <a:spcPct val="25000"/>
              </a:spcAft>
              <a:buClr>
                <a:srgbClr val="F77F00"/>
              </a:buClr>
              <a:buSzPct val="100000"/>
              <a:buFont typeface="Wingdings" pitchFamily="2" charset="2"/>
              <a:buNone/>
              <a:defRPr/>
            </a:pPr>
            <a:endParaRPr lang="en-US" sz="1800" dirty="0">
              <a:solidFill>
                <a:schemeClr val="tx1"/>
              </a:solidFill>
              <a:latin typeface="Berlin Sans FB" panose="020E0602020502020306" pitchFamily="34" charset="0"/>
            </a:endParaRPr>
          </a:p>
        </p:txBody>
      </p:sp>
      <p:sp>
        <p:nvSpPr>
          <p:cNvPr id="23" name="Content Placeholder 16"/>
          <p:cNvSpPr txBox="1">
            <a:spLocks/>
          </p:cNvSpPr>
          <p:nvPr/>
        </p:nvSpPr>
        <p:spPr bwMode="gray">
          <a:xfrm>
            <a:off x="7248099" y="1558729"/>
            <a:ext cx="3238291" cy="549471"/>
          </a:xfrm>
          <a:prstGeom prst="rect">
            <a:avLst/>
          </a:prstGeom>
          <a:noFill/>
          <a:ln w="9525">
            <a:noFill/>
            <a:miter lim="800000"/>
            <a:headEnd/>
            <a:tailEnd/>
          </a:ln>
        </p:spPr>
        <p:txBody>
          <a:bodyPr lIns="59267" tIns="59267" rIns="59267" bIns="59267" anchor="ctr"/>
          <a:lstStyle/>
          <a:p>
            <a:pPr algn="ctr" eaLnBrk="0" hangingPunct="0">
              <a:spcBef>
                <a:spcPct val="25000"/>
              </a:spcBef>
              <a:spcAft>
                <a:spcPct val="25000"/>
              </a:spcAft>
              <a:buClr>
                <a:srgbClr val="F77F00"/>
              </a:buClr>
              <a:buSzPct val="100000"/>
              <a:buFont typeface="Wingdings" pitchFamily="2" charset="2"/>
              <a:buNone/>
              <a:defRPr/>
            </a:pPr>
            <a:r>
              <a:rPr lang="en-US" sz="1800" b="1" dirty="0">
                <a:solidFill>
                  <a:schemeClr val="tx1"/>
                </a:solidFill>
                <a:latin typeface="Futura Lt BT" panose="020B0402020204020303"/>
              </a:rPr>
              <a:t>Status</a:t>
            </a:r>
          </a:p>
        </p:txBody>
      </p:sp>
    </p:spTree>
    <p:extLst>
      <p:ext uri="{BB962C8B-B14F-4D97-AF65-F5344CB8AC3E}">
        <p14:creationId xmlns:p14="http://schemas.microsoft.com/office/powerpoint/2010/main" val="2208988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Connector 71"/>
          <p:cNvCxnSpPr/>
          <p:nvPr/>
        </p:nvCxnSpPr>
        <p:spPr>
          <a:xfrm>
            <a:off x="65433" y="3462510"/>
            <a:ext cx="841447" cy="7826"/>
          </a:xfrm>
          <a:prstGeom prst="line">
            <a:avLst/>
          </a:prstGeom>
          <a:ln w="19050" cmpd="sng"/>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65433" y="1333404"/>
            <a:ext cx="1881621" cy="2231511"/>
            <a:chOff x="561133" y="1077491"/>
            <a:chExt cx="1411216" cy="1673633"/>
          </a:xfrm>
        </p:grpSpPr>
        <p:sp>
          <p:nvSpPr>
            <p:cNvPr id="74" name="Freeform 73"/>
            <p:cNvSpPr/>
            <p:nvPr/>
          </p:nvSpPr>
          <p:spPr>
            <a:xfrm>
              <a:off x="561133" y="1077491"/>
              <a:ext cx="1411216" cy="1602699"/>
            </a:xfrm>
            <a:custGeom>
              <a:avLst/>
              <a:gdLst>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705608 w 1411216"/>
                <a:gd name="connsiteY4" fmla="*/ 1501908 h 1602699"/>
                <a:gd name="connsiteX5" fmla="*/ 604818 w 1411216"/>
                <a:gd name="connsiteY5" fmla="*/ 1602699 h 1602699"/>
                <a:gd name="connsiteX6" fmla="*/ 206668 w 1411216"/>
                <a:gd name="connsiteY6" fmla="*/ 1204548 h 1602699"/>
                <a:gd name="connsiteX7" fmla="*/ 206668 w 1411216"/>
                <a:gd name="connsiteY7" fmla="*/ 206668 h 1602699"/>
                <a:gd name="connsiteX8" fmla="*/ 705608 w 1411216"/>
                <a:gd name="connsiteY8" fmla="*/ 0 h 1602699"/>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604818 w 1411216"/>
                <a:gd name="connsiteY4" fmla="*/ 1602699 h 1602699"/>
                <a:gd name="connsiteX5" fmla="*/ 206668 w 1411216"/>
                <a:gd name="connsiteY5" fmla="*/ 1204548 h 1602699"/>
                <a:gd name="connsiteX6" fmla="*/ 206668 w 1411216"/>
                <a:gd name="connsiteY6" fmla="*/ 206668 h 1602699"/>
                <a:gd name="connsiteX7" fmla="*/ 705608 w 1411216"/>
                <a:gd name="connsiteY7" fmla="*/ 0 h 16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216" h="1602699">
                  <a:moveTo>
                    <a:pt x="705608" y="0"/>
                  </a:moveTo>
                  <a:cubicBezTo>
                    <a:pt x="886189" y="-1"/>
                    <a:pt x="1066770" y="68889"/>
                    <a:pt x="1204548" y="206668"/>
                  </a:cubicBezTo>
                  <a:cubicBezTo>
                    <a:pt x="1480106" y="482225"/>
                    <a:pt x="1480106" y="928991"/>
                    <a:pt x="1204548" y="1204548"/>
                  </a:cubicBezTo>
                  <a:lnTo>
                    <a:pt x="806398" y="1602699"/>
                  </a:lnTo>
                  <a:lnTo>
                    <a:pt x="604818" y="1602699"/>
                  </a:lnTo>
                  <a:lnTo>
                    <a:pt x="206668" y="1204548"/>
                  </a:lnTo>
                  <a:cubicBezTo>
                    <a:pt x="-68890" y="928991"/>
                    <a:pt x="-68890" y="482225"/>
                    <a:pt x="206668" y="206668"/>
                  </a:cubicBezTo>
                  <a:cubicBezTo>
                    <a:pt x="344446" y="68889"/>
                    <a:pt x="525027" y="-1"/>
                    <a:pt x="705608" y="0"/>
                  </a:cubicBezTo>
                  <a:close/>
                </a:path>
              </a:pathLst>
            </a:custGeom>
            <a:solidFill>
              <a:schemeClr val="bg1"/>
            </a:solidFill>
            <a:ln w="1905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75" name="Rectangle 74"/>
            <p:cNvSpPr/>
            <p:nvPr/>
          </p:nvSpPr>
          <p:spPr>
            <a:xfrm>
              <a:off x="1174666" y="2616200"/>
              <a:ext cx="196934" cy="1349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cxnSp>
        <p:nvCxnSpPr>
          <p:cNvPr id="76" name="Straight Connector 75"/>
          <p:cNvCxnSpPr/>
          <p:nvPr/>
        </p:nvCxnSpPr>
        <p:spPr>
          <a:xfrm>
            <a:off x="1146056" y="3462510"/>
            <a:ext cx="1820223" cy="7824"/>
          </a:xfrm>
          <a:prstGeom prst="line">
            <a:avLst/>
          </a:prstGeom>
          <a:ln w="19050" cmpd="sng"/>
        </p:spPr>
        <p:style>
          <a:lnRef idx="1">
            <a:schemeClr val="accent1"/>
          </a:lnRef>
          <a:fillRef idx="0">
            <a:schemeClr val="accent1"/>
          </a:fillRef>
          <a:effectRef idx="0">
            <a:schemeClr val="accent1"/>
          </a:effectRef>
          <a:fontRef idx="minor">
            <a:schemeClr val="tx1"/>
          </a:fontRef>
        </p:style>
      </p:cxnSp>
      <p:sp>
        <p:nvSpPr>
          <p:cNvPr id="77" name="Oval 76"/>
          <p:cNvSpPr/>
          <p:nvPr/>
        </p:nvSpPr>
        <p:spPr>
          <a:xfrm>
            <a:off x="198713" y="1465643"/>
            <a:ext cx="1615061" cy="1615061"/>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solidFill>
                <a:schemeClr val="accent4"/>
              </a:solidFill>
              <a:latin typeface="Berlin Sans FB" panose="020E0602020502020306" pitchFamily="34" charset="0"/>
            </a:endParaRPr>
          </a:p>
        </p:txBody>
      </p:sp>
      <p:grpSp>
        <p:nvGrpSpPr>
          <p:cNvPr id="78" name="Group 77"/>
          <p:cNvGrpSpPr/>
          <p:nvPr/>
        </p:nvGrpSpPr>
        <p:grpSpPr>
          <a:xfrm>
            <a:off x="2209633" y="1682444"/>
            <a:ext cx="1575923" cy="1868967"/>
            <a:chOff x="2123233" y="1087016"/>
            <a:chExt cx="1411216" cy="1673633"/>
          </a:xfrm>
        </p:grpSpPr>
        <p:grpSp>
          <p:nvGrpSpPr>
            <p:cNvPr id="79" name="Group 78"/>
            <p:cNvGrpSpPr/>
            <p:nvPr/>
          </p:nvGrpSpPr>
          <p:grpSpPr>
            <a:xfrm>
              <a:off x="2123233" y="1087016"/>
              <a:ext cx="1411216" cy="1673633"/>
              <a:chOff x="561133" y="1077491"/>
              <a:chExt cx="1411216" cy="1673633"/>
            </a:xfrm>
          </p:grpSpPr>
          <p:sp>
            <p:nvSpPr>
              <p:cNvPr id="81" name="Freeform 80"/>
              <p:cNvSpPr/>
              <p:nvPr/>
            </p:nvSpPr>
            <p:spPr>
              <a:xfrm>
                <a:off x="561133" y="1077491"/>
                <a:ext cx="1411216" cy="1602699"/>
              </a:xfrm>
              <a:custGeom>
                <a:avLst/>
                <a:gdLst>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705608 w 1411216"/>
                  <a:gd name="connsiteY4" fmla="*/ 1501908 h 1602699"/>
                  <a:gd name="connsiteX5" fmla="*/ 604818 w 1411216"/>
                  <a:gd name="connsiteY5" fmla="*/ 1602699 h 1602699"/>
                  <a:gd name="connsiteX6" fmla="*/ 206668 w 1411216"/>
                  <a:gd name="connsiteY6" fmla="*/ 1204548 h 1602699"/>
                  <a:gd name="connsiteX7" fmla="*/ 206668 w 1411216"/>
                  <a:gd name="connsiteY7" fmla="*/ 206668 h 1602699"/>
                  <a:gd name="connsiteX8" fmla="*/ 705608 w 1411216"/>
                  <a:gd name="connsiteY8" fmla="*/ 0 h 1602699"/>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604818 w 1411216"/>
                  <a:gd name="connsiteY4" fmla="*/ 1602699 h 1602699"/>
                  <a:gd name="connsiteX5" fmla="*/ 206668 w 1411216"/>
                  <a:gd name="connsiteY5" fmla="*/ 1204548 h 1602699"/>
                  <a:gd name="connsiteX6" fmla="*/ 206668 w 1411216"/>
                  <a:gd name="connsiteY6" fmla="*/ 206668 h 1602699"/>
                  <a:gd name="connsiteX7" fmla="*/ 705608 w 1411216"/>
                  <a:gd name="connsiteY7" fmla="*/ 0 h 16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216" h="1602699">
                    <a:moveTo>
                      <a:pt x="705608" y="0"/>
                    </a:moveTo>
                    <a:cubicBezTo>
                      <a:pt x="886189" y="-1"/>
                      <a:pt x="1066770" y="68889"/>
                      <a:pt x="1204548" y="206668"/>
                    </a:cubicBezTo>
                    <a:cubicBezTo>
                      <a:pt x="1480106" y="482225"/>
                      <a:pt x="1480106" y="928991"/>
                      <a:pt x="1204548" y="1204548"/>
                    </a:cubicBezTo>
                    <a:lnTo>
                      <a:pt x="806398" y="1602699"/>
                    </a:lnTo>
                    <a:lnTo>
                      <a:pt x="604818" y="1602699"/>
                    </a:lnTo>
                    <a:lnTo>
                      <a:pt x="206668" y="1204548"/>
                    </a:lnTo>
                    <a:cubicBezTo>
                      <a:pt x="-68890" y="928991"/>
                      <a:pt x="-68890" y="482225"/>
                      <a:pt x="206668" y="206668"/>
                    </a:cubicBezTo>
                    <a:cubicBezTo>
                      <a:pt x="344446" y="68889"/>
                      <a:pt x="525027" y="-1"/>
                      <a:pt x="705608" y="0"/>
                    </a:cubicBezTo>
                    <a:close/>
                  </a:path>
                </a:pathLst>
              </a:custGeom>
              <a:solidFill>
                <a:schemeClr val="bg1"/>
              </a:solidFill>
              <a:ln w="1905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82" name="Rectangle 81"/>
              <p:cNvSpPr/>
              <p:nvPr/>
            </p:nvSpPr>
            <p:spPr>
              <a:xfrm>
                <a:off x="1174666" y="2616201"/>
                <a:ext cx="181689" cy="13492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80" name="Oval 79"/>
            <p:cNvSpPr/>
            <p:nvPr/>
          </p:nvSpPr>
          <p:spPr>
            <a:xfrm>
              <a:off x="2223193" y="1186195"/>
              <a:ext cx="1211296" cy="1211296"/>
            </a:xfrm>
            <a:prstGeom prst="ellipse">
              <a:avLst/>
            </a:prstGeom>
            <a:ln>
              <a:solidFill>
                <a:srgbClr val="C00000"/>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2667" b="1" dirty="0">
                <a:solidFill>
                  <a:srgbClr val="55A51C"/>
                </a:solidFill>
              </a:endParaRPr>
            </a:p>
          </p:txBody>
        </p:sp>
      </p:grpSp>
      <p:cxnSp>
        <p:nvCxnSpPr>
          <p:cNvPr id="83" name="Straight Connector 82"/>
          <p:cNvCxnSpPr/>
          <p:nvPr/>
        </p:nvCxnSpPr>
        <p:spPr>
          <a:xfrm>
            <a:off x="3103644" y="3480664"/>
            <a:ext cx="1820223" cy="7824"/>
          </a:xfrm>
          <a:prstGeom prst="line">
            <a:avLst/>
          </a:prstGeom>
          <a:ln w="19050" cmpd="sng"/>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4125103" y="1364778"/>
            <a:ext cx="1876585" cy="2225537"/>
            <a:chOff x="2123233" y="1087016"/>
            <a:chExt cx="1411216" cy="1673633"/>
          </a:xfrm>
        </p:grpSpPr>
        <p:grpSp>
          <p:nvGrpSpPr>
            <p:cNvPr id="85" name="Group 84"/>
            <p:cNvGrpSpPr/>
            <p:nvPr/>
          </p:nvGrpSpPr>
          <p:grpSpPr>
            <a:xfrm>
              <a:off x="2123233" y="1087016"/>
              <a:ext cx="1411216" cy="1673633"/>
              <a:chOff x="561133" y="1077491"/>
              <a:chExt cx="1411216" cy="1673633"/>
            </a:xfrm>
          </p:grpSpPr>
          <p:sp>
            <p:nvSpPr>
              <p:cNvPr id="87" name="Freeform 86"/>
              <p:cNvSpPr/>
              <p:nvPr/>
            </p:nvSpPr>
            <p:spPr>
              <a:xfrm>
                <a:off x="561133" y="1077491"/>
                <a:ext cx="1411216" cy="1602699"/>
              </a:xfrm>
              <a:custGeom>
                <a:avLst/>
                <a:gdLst>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705608 w 1411216"/>
                  <a:gd name="connsiteY4" fmla="*/ 1501908 h 1602699"/>
                  <a:gd name="connsiteX5" fmla="*/ 604818 w 1411216"/>
                  <a:gd name="connsiteY5" fmla="*/ 1602699 h 1602699"/>
                  <a:gd name="connsiteX6" fmla="*/ 206668 w 1411216"/>
                  <a:gd name="connsiteY6" fmla="*/ 1204548 h 1602699"/>
                  <a:gd name="connsiteX7" fmla="*/ 206668 w 1411216"/>
                  <a:gd name="connsiteY7" fmla="*/ 206668 h 1602699"/>
                  <a:gd name="connsiteX8" fmla="*/ 705608 w 1411216"/>
                  <a:gd name="connsiteY8" fmla="*/ 0 h 1602699"/>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604818 w 1411216"/>
                  <a:gd name="connsiteY4" fmla="*/ 1602699 h 1602699"/>
                  <a:gd name="connsiteX5" fmla="*/ 206668 w 1411216"/>
                  <a:gd name="connsiteY5" fmla="*/ 1204548 h 1602699"/>
                  <a:gd name="connsiteX6" fmla="*/ 206668 w 1411216"/>
                  <a:gd name="connsiteY6" fmla="*/ 206668 h 1602699"/>
                  <a:gd name="connsiteX7" fmla="*/ 705608 w 1411216"/>
                  <a:gd name="connsiteY7" fmla="*/ 0 h 16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216" h="1602699">
                    <a:moveTo>
                      <a:pt x="705608" y="0"/>
                    </a:moveTo>
                    <a:cubicBezTo>
                      <a:pt x="886189" y="-1"/>
                      <a:pt x="1066770" y="68889"/>
                      <a:pt x="1204548" y="206668"/>
                    </a:cubicBezTo>
                    <a:cubicBezTo>
                      <a:pt x="1480106" y="482225"/>
                      <a:pt x="1480106" y="928991"/>
                      <a:pt x="1204548" y="1204548"/>
                    </a:cubicBezTo>
                    <a:lnTo>
                      <a:pt x="806398" y="1602699"/>
                    </a:lnTo>
                    <a:lnTo>
                      <a:pt x="604818" y="1602699"/>
                    </a:lnTo>
                    <a:lnTo>
                      <a:pt x="206668" y="1204548"/>
                    </a:lnTo>
                    <a:cubicBezTo>
                      <a:pt x="-68890" y="928991"/>
                      <a:pt x="-68890" y="482225"/>
                      <a:pt x="206668" y="206668"/>
                    </a:cubicBezTo>
                    <a:cubicBezTo>
                      <a:pt x="344446" y="68889"/>
                      <a:pt x="525027" y="-1"/>
                      <a:pt x="705608" y="0"/>
                    </a:cubicBezTo>
                    <a:close/>
                  </a:path>
                </a:pathLst>
              </a:custGeom>
              <a:solidFill>
                <a:schemeClr val="bg1"/>
              </a:solidFill>
              <a:ln w="1905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88" name="Rectangle 87"/>
              <p:cNvSpPr/>
              <p:nvPr/>
            </p:nvSpPr>
            <p:spPr>
              <a:xfrm>
                <a:off x="1174666" y="2616200"/>
                <a:ext cx="196934" cy="1349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86" name="Oval 85"/>
            <p:cNvSpPr/>
            <p:nvPr/>
          </p:nvSpPr>
          <p:spPr>
            <a:xfrm>
              <a:off x="2223193" y="1186195"/>
              <a:ext cx="1211296" cy="1211296"/>
            </a:xfrm>
            <a:prstGeom prst="ellipse">
              <a:avLst/>
            </a:prstGeom>
            <a:ln>
              <a:solidFill>
                <a:srgbClr val="904AA7"/>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3200" b="1" dirty="0">
                <a:solidFill>
                  <a:schemeClr val="accent6">
                    <a:lumMod val="60000"/>
                    <a:lumOff val="40000"/>
                  </a:schemeClr>
                </a:solidFill>
              </a:endParaRPr>
            </a:p>
          </p:txBody>
        </p:sp>
      </p:grpSp>
      <p:cxnSp>
        <p:nvCxnSpPr>
          <p:cNvPr id="89" name="Straight Connector 88"/>
          <p:cNvCxnSpPr/>
          <p:nvPr/>
        </p:nvCxnSpPr>
        <p:spPr>
          <a:xfrm>
            <a:off x="5208810" y="3492077"/>
            <a:ext cx="1820223" cy="7824"/>
          </a:xfrm>
          <a:prstGeom prst="line">
            <a:avLst/>
          </a:prstGeom>
          <a:ln w="19050" cmpd="sng"/>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6310486" y="1712011"/>
            <a:ext cx="1575923" cy="1868967"/>
            <a:chOff x="2123233" y="1087016"/>
            <a:chExt cx="1411216" cy="1673633"/>
          </a:xfrm>
        </p:grpSpPr>
        <p:grpSp>
          <p:nvGrpSpPr>
            <p:cNvPr id="91" name="Group 90"/>
            <p:cNvGrpSpPr/>
            <p:nvPr/>
          </p:nvGrpSpPr>
          <p:grpSpPr>
            <a:xfrm>
              <a:off x="2123233" y="1087016"/>
              <a:ext cx="1411216" cy="1673633"/>
              <a:chOff x="561133" y="1077491"/>
              <a:chExt cx="1411216" cy="1673633"/>
            </a:xfrm>
          </p:grpSpPr>
          <p:sp>
            <p:nvSpPr>
              <p:cNvPr id="93" name="Freeform 92"/>
              <p:cNvSpPr/>
              <p:nvPr/>
            </p:nvSpPr>
            <p:spPr>
              <a:xfrm>
                <a:off x="561133" y="1077491"/>
                <a:ext cx="1411216" cy="1602699"/>
              </a:xfrm>
              <a:custGeom>
                <a:avLst/>
                <a:gdLst>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705608 w 1411216"/>
                  <a:gd name="connsiteY4" fmla="*/ 1501908 h 1602699"/>
                  <a:gd name="connsiteX5" fmla="*/ 604818 w 1411216"/>
                  <a:gd name="connsiteY5" fmla="*/ 1602699 h 1602699"/>
                  <a:gd name="connsiteX6" fmla="*/ 206668 w 1411216"/>
                  <a:gd name="connsiteY6" fmla="*/ 1204548 h 1602699"/>
                  <a:gd name="connsiteX7" fmla="*/ 206668 w 1411216"/>
                  <a:gd name="connsiteY7" fmla="*/ 206668 h 1602699"/>
                  <a:gd name="connsiteX8" fmla="*/ 705608 w 1411216"/>
                  <a:gd name="connsiteY8" fmla="*/ 0 h 1602699"/>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604818 w 1411216"/>
                  <a:gd name="connsiteY4" fmla="*/ 1602699 h 1602699"/>
                  <a:gd name="connsiteX5" fmla="*/ 206668 w 1411216"/>
                  <a:gd name="connsiteY5" fmla="*/ 1204548 h 1602699"/>
                  <a:gd name="connsiteX6" fmla="*/ 206668 w 1411216"/>
                  <a:gd name="connsiteY6" fmla="*/ 206668 h 1602699"/>
                  <a:gd name="connsiteX7" fmla="*/ 705608 w 1411216"/>
                  <a:gd name="connsiteY7" fmla="*/ 0 h 16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216" h="1602699">
                    <a:moveTo>
                      <a:pt x="705608" y="0"/>
                    </a:moveTo>
                    <a:cubicBezTo>
                      <a:pt x="886189" y="-1"/>
                      <a:pt x="1066770" y="68889"/>
                      <a:pt x="1204548" y="206668"/>
                    </a:cubicBezTo>
                    <a:cubicBezTo>
                      <a:pt x="1480106" y="482225"/>
                      <a:pt x="1480106" y="928991"/>
                      <a:pt x="1204548" y="1204548"/>
                    </a:cubicBezTo>
                    <a:lnTo>
                      <a:pt x="806398" y="1602699"/>
                    </a:lnTo>
                    <a:lnTo>
                      <a:pt x="604818" y="1602699"/>
                    </a:lnTo>
                    <a:lnTo>
                      <a:pt x="206668" y="1204548"/>
                    </a:lnTo>
                    <a:cubicBezTo>
                      <a:pt x="-68890" y="928991"/>
                      <a:pt x="-68890" y="482225"/>
                      <a:pt x="206668" y="206668"/>
                    </a:cubicBezTo>
                    <a:cubicBezTo>
                      <a:pt x="344446" y="68889"/>
                      <a:pt x="525027" y="-1"/>
                      <a:pt x="705608" y="0"/>
                    </a:cubicBezTo>
                    <a:close/>
                  </a:path>
                </a:pathLst>
              </a:custGeom>
              <a:solidFill>
                <a:schemeClr val="bg1"/>
              </a:solidFill>
              <a:ln w="1905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94" name="Rectangle 93"/>
              <p:cNvSpPr/>
              <p:nvPr/>
            </p:nvSpPr>
            <p:spPr>
              <a:xfrm>
                <a:off x="1174666" y="2616200"/>
                <a:ext cx="196934" cy="1349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92" name="Oval 91"/>
            <p:cNvSpPr/>
            <p:nvPr/>
          </p:nvSpPr>
          <p:spPr>
            <a:xfrm>
              <a:off x="2223193" y="1186195"/>
              <a:ext cx="1211296" cy="1211296"/>
            </a:xfrm>
            <a:prstGeom prst="ellipse">
              <a:avLst/>
            </a:prstGeom>
            <a:ln>
              <a:solidFill>
                <a:srgbClr val="0A68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667" b="1" dirty="0">
                <a:solidFill>
                  <a:srgbClr val="83389B"/>
                </a:solidFill>
              </a:endParaRPr>
            </a:p>
          </p:txBody>
        </p:sp>
      </p:grpSp>
      <p:cxnSp>
        <p:nvCxnSpPr>
          <p:cNvPr id="95" name="Straight Connector 94"/>
          <p:cNvCxnSpPr/>
          <p:nvPr/>
        </p:nvCxnSpPr>
        <p:spPr>
          <a:xfrm>
            <a:off x="7204498" y="3501764"/>
            <a:ext cx="1820223" cy="7824"/>
          </a:xfrm>
          <a:prstGeom prst="line">
            <a:avLst/>
          </a:prstGeom>
          <a:ln w="19050" cmpd="sng"/>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8230536" y="1377259"/>
            <a:ext cx="1876585" cy="2225537"/>
            <a:chOff x="2123233" y="1087016"/>
            <a:chExt cx="1411216" cy="1673633"/>
          </a:xfrm>
        </p:grpSpPr>
        <p:grpSp>
          <p:nvGrpSpPr>
            <p:cNvPr id="97" name="Group 96"/>
            <p:cNvGrpSpPr/>
            <p:nvPr/>
          </p:nvGrpSpPr>
          <p:grpSpPr>
            <a:xfrm>
              <a:off x="2123233" y="1087016"/>
              <a:ext cx="1411216" cy="1673633"/>
              <a:chOff x="561133" y="1077491"/>
              <a:chExt cx="1411216" cy="1673633"/>
            </a:xfrm>
          </p:grpSpPr>
          <p:sp>
            <p:nvSpPr>
              <p:cNvPr id="99" name="Freeform 98"/>
              <p:cNvSpPr/>
              <p:nvPr/>
            </p:nvSpPr>
            <p:spPr>
              <a:xfrm>
                <a:off x="561133" y="1077491"/>
                <a:ext cx="1411216" cy="1602699"/>
              </a:xfrm>
              <a:custGeom>
                <a:avLst/>
                <a:gdLst>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705608 w 1411216"/>
                  <a:gd name="connsiteY4" fmla="*/ 1501908 h 1602699"/>
                  <a:gd name="connsiteX5" fmla="*/ 604818 w 1411216"/>
                  <a:gd name="connsiteY5" fmla="*/ 1602699 h 1602699"/>
                  <a:gd name="connsiteX6" fmla="*/ 206668 w 1411216"/>
                  <a:gd name="connsiteY6" fmla="*/ 1204548 h 1602699"/>
                  <a:gd name="connsiteX7" fmla="*/ 206668 w 1411216"/>
                  <a:gd name="connsiteY7" fmla="*/ 206668 h 1602699"/>
                  <a:gd name="connsiteX8" fmla="*/ 705608 w 1411216"/>
                  <a:gd name="connsiteY8" fmla="*/ 0 h 1602699"/>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604818 w 1411216"/>
                  <a:gd name="connsiteY4" fmla="*/ 1602699 h 1602699"/>
                  <a:gd name="connsiteX5" fmla="*/ 206668 w 1411216"/>
                  <a:gd name="connsiteY5" fmla="*/ 1204548 h 1602699"/>
                  <a:gd name="connsiteX6" fmla="*/ 206668 w 1411216"/>
                  <a:gd name="connsiteY6" fmla="*/ 206668 h 1602699"/>
                  <a:gd name="connsiteX7" fmla="*/ 705608 w 1411216"/>
                  <a:gd name="connsiteY7" fmla="*/ 0 h 16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216" h="1602699">
                    <a:moveTo>
                      <a:pt x="705608" y="0"/>
                    </a:moveTo>
                    <a:cubicBezTo>
                      <a:pt x="886189" y="-1"/>
                      <a:pt x="1066770" y="68889"/>
                      <a:pt x="1204548" y="206668"/>
                    </a:cubicBezTo>
                    <a:cubicBezTo>
                      <a:pt x="1480106" y="482225"/>
                      <a:pt x="1480106" y="928991"/>
                      <a:pt x="1204548" y="1204548"/>
                    </a:cubicBezTo>
                    <a:lnTo>
                      <a:pt x="806398" y="1602699"/>
                    </a:lnTo>
                    <a:lnTo>
                      <a:pt x="604818" y="1602699"/>
                    </a:lnTo>
                    <a:lnTo>
                      <a:pt x="206668" y="1204548"/>
                    </a:lnTo>
                    <a:cubicBezTo>
                      <a:pt x="-68890" y="928991"/>
                      <a:pt x="-68890" y="482225"/>
                      <a:pt x="206668" y="206668"/>
                    </a:cubicBezTo>
                    <a:cubicBezTo>
                      <a:pt x="344446" y="68889"/>
                      <a:pt x="525027" y="-1"/>
                      <a:pt x="705608" y="0"/>
                    </a:cubicBezTo>
                    <a:close/>
                  </a:path>
                </a:pathLst>
              </a:custGeom>
              <a:solidFill>
                <a:schemeClr val="bg1"/>
              </a:solidFill>
              <a:ln w="1905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100" name="Rectangle 99"/>
              <p:cNvSpPr/>
              <p:nvPr/>
            </p:nvSpPr>
            <p:spPr>
              <a:xfrm>
                <a:off x="1174666" y="2616200"/>
                <a:ext cx="196934" cy="1349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98" name="Oval 97"/>
            <p:cNvSpPr/>
            <p:nvPr/>
          </p:nvSpPr>
          <p:spPr>
            <a:xfrm>
              <a:off x="2223193" y="1186195"/>
              <a:ext cx="1211296" cy="1211296"/>
            </a:xfrm>
            <a:prstGeom prst="ellipse">
              <a:avLst/>
            </a:prstGeom>
            <a:ln>
              <a:solidFill>
                <a:srgbClr val="407F1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3200" b="1" dirty="0">
                <a:solidFill>
                  <a:srgbClr val="0063BE"/>
                </a:solidFill>
              </a:endParaRPr>
            </a:p>
          </p:txBody>
        </p:sp>
      </p:grpSp>
      <p:cxnSp>
        <p:nvCxnSpPr>
          <p:cNvPr id="101" name="Straight Connector 100"/>
          <p:cNvCxnSpPr/>
          <p:nvPr/>
        </p:nvCxnSpPr>
        <p:spPr>
          <a:xfrm>
            <a:off x="9273087" y="3504558"/>
            <a:ext cx="1768505" cy="0"/>
          </a:xfrm>
          <a:prstGeom prst="line">
            <a:avLst/>
          </a:prstGeom>
          <a:ln w="19050" cmpd="sng"/>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65433" y="3624132"/>
            <a:ext cx="1881621" cy="2677656"/>
          </a:xfrm>
          <a:prstGeom prst="rect">
            <a:avLst/>
          </a:prstGeom>
          <a:solidFill>
            <a:schemeClr val="bg1">
              <a:lumMod val="85000"/>
            </a:schemeClr>
          </a:solidFill>
        </p:spPr>
        <p:txBody>
          <a:bodyPr wrap="square" rtlCol="0">
            <a:spAutoFit/>
          </a:bodyPr>
          <a:lstStyle/>
          <a:p>
            <a:pPr marL="171450" indent="-171450">
              <a:buFont typeface="Arial" panose="020B0604020202020204" pitchFamily="34" charset="0"/>
              <a:buChar char="•"/>
            </a:pPr>
            <a:r>
              <a:rPr lang="en-US" sz="1200" dirty="0">
                <a:solidFill>
                  <a:schemeClr val="tx1"/>
                </a:solidFill>
                <a:latin typeface="Futura Lt BT" panose="020B0402020204020303"/>
              </a:rPr>
              <a:t>Days of birth column has been transformed to understand the age of applicant.</a:t>
            </a:r>
          </a:p>
          <a:p>
            <a:pPr marL="171450" indent="-171450">
              <a:buFont typeface="Arial" panose="020B0604020202020204" pitchFamily="34" charset="0"/>
              <a:buChar char="•"/>
            </a:pPr>
            <a:r>
              <a:rPr lang="en-US" sz="1200" dirty="0">
                <a:solidFill>
                  <a:schemeClr val="tx1"/>
                </a:solidFill>
                <a:latin typeface="Futura Lt BT" panose="020B0402020204020303"/>
              </a:rPr>
              <a:t>Mid age people are the most frequent applicants for credit card with most difficulty in pay it back. </a:t>
            </a:r>
          </a:p>
          <a:p>
            <a:pPr marL="171450" indent="-171450">
              <a:buFont typeface="Arial" panose="020B0604020202020204" pitchFamily="34" charset="0"/>
              <a:buChar char="•"/>
            </a:pPr>
            <a:r>
              <a:rPr lang="en-US" sz="1200" dirty="0">
                <a:solidFill>
                  <a:schemeClr val="tx1"/>
                </a:solidFill>
                <a:latin typeface="Futura Lt BT" panose="020B0402020204020303"/>
              </a:rPr>
              <a:t>Senior Citizen and Young people below the age of 18 face lesser difficulties.</a:t>
            </a:r>
          </a:p>
          <a:p>
            <a:pPr marL="171450" indent="-171450">
              <a:buFont typeface="Arial" panose="020B0604020202020204" pitchFamily="34" charset="0"/>
              <a:buChar char="•"/>
            </a:pPr>
            <a:endParaRPr lang="en-US" sz="1200" dirty="0">
              <a:solidFill>
                <a:schemeClr val="tx1"/>
              </a:solidFill>
              <a:latin typeface="Futura Lt BT" panose="020B0402020204020303"/>
            </a:endParaRPr>
          </a:p>
        </p:txBody>
      </p:sp>
      <p:sp>
        <p:nvSpPr>
          <p:cNvPr id="111" name="Title 2">
            <a:extLst>
              <a:ext uri="{FF2B5EF4-FFF2-40B4-BE49-F238E27FC236}">
                <a16:creationId xmlns:a16="http://schemas.microsoft.com/office/drawing/2014/main" id="{4B3DCF99-4807-2F21-1158-C2E750E92F00}"/>
              </a:ext>
            </a:extLst>
          </p:cNvPr>
          <p:cNvSpPr txBox="1">
            <a:spLocks/>
          </p:cNvSpPr>
          <p:nvPr/>
        </p:nvSpPr>
        <p:spPr>
          <a:xfrm>
            <a:off x="675124" y="280798"/>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Key Variables  </a:t>
            </a:r>
          </a:p>
        </p:txBody>
      </p:sp>
      <p:grpSp>
        <p:nvGrpSpPr>
          <p:cNvPr id="112" name="Group 111"/>
          <p:cNvGrpSpPr/>
          <p:nvPr/>
        </p:nvGrpSpPr>
        <p:grpSpPr>
          <a:xfrm>
            <a:off x="10377661" y="1712011"/>
            <a:ext cx="1575923" cy="1868967"/>
            <a:chOff x="2123233" y="1087016"/>
            <a:chExt cx="1411216" cy="1673633"/>
          </a:xfrm>
        </p:grpSpPr>
        <p:grpSp>
          <p:nvGrpSpPr>
            <p:cNvPr id="113" name="Group 112"/>
            <p:cNvGrpSpPr/>
            <p:nvPr/>
          </p:nvGrpSpPr>
          <p:grpSpPr>
            <a:xfrm>
              <a:off x="2123233" y="1087016"/>
              <a:ext cx="1411216" cy="1673633"/>
              <a:chOff x="561133" y="1077491"/>
              <a:chExt cx="1411216" cy="1673633"/>
            </a:xfrm>
          </p:grpSpPr>
          <p:sp>
            <p:nvSpPr>
              <p:cNvPr id="115" name="Freeform 114"/>
              <p:cNvSpPr/>
              <p:nvPr/>
            </p:nvSpPr>
            <p:spPr>
              <a:xfrm>
                <a:off x="561133" y="1077491"/>
                <a:ext cx="1411216" cy="1602699"/>
              </a:xfrm>
              <a:custGeom>
                <a:avLst/>
                <a:gdLst>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705608 w 1411216"/>
                  <a:gd name="connsiteY4" fmla="*/ 1501908 h 1602699"/>
                  <a:gd name="connsiteX5" fmla="*/ 604818 w 1411216"/>
                  <a:gd name="connsiteY5" fmla="*/ 1602699 h 1602699"/>
                  <a:gd name="connsiteX6" fmla="*/ 206668 w 1411216"/>
                  <a:gd name="connsiteY6" fmla="*/ 1204548 h 1602699"/>
                  <a:gd name="connsiteX7" fmla="*/ 206668 w 1411216"/>
                  <a:gd name="connsiteY7" fmla="*/ 206668 h 1602699"/>
                  <a:gd name="connsiteX8" fmla="*/ 705608 w 1411216"/>
                  <a:gd name="connsiteY8" fmla="*/ 0 h 1602699"/>
                  <a:gd name="connsiteX0" fmla="*/ 705608 w 1411216"/>
                  <a:gd name="connsiteY0" fmla="*/ 0 h 1602699"/>
                  <a:gd name="connsiteX1" fmla="*/ 1204548 w 1411216"/>
                  <a:gd name="connsiteY1" fmla="*/ 206668 h 1602699"/>
                  <a:gd name="connsiteX2" fmla="*/ 1204548 w 1411216"/>
                  <a:gd name="connsiteY2" fmla="*/ 1204548 h 1602699"/>
                  <a:gd name="connsiteX3" fmla="*/ 806398 w 1411216"/>
                  <a:gd name="connsiteY3" fmla="*/ 1602699 h 1602699"/>
                  <a:gd name="connsiteX4" fmla="*/ 604818 w 1411216"/>
                  <a:gd name="connsiteY4" fmla="*/ 1602699 h 1602699"/>
                  <a:gd name="connsiteX5" fmla="*/ 206668 w 1411216"/>
                  <a:gd name="connsiteY5" fmla="*/ 1204548 h 1602699"/>
                  <a:gd name="connsiteX6" fmla="*/ 206668 w 1411216"/>
                  <a:gd name="connsiteY6" fmla="*/ 206668 h 1602699"/>
                  <a:gd name="connsiteX7" fmla="*/ 705608 w 1411216"/>
                  <a:gd name="connsiteY7" fmla="*/ 0 h 16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1216" h="1602699">
                    <a:moveTo>
                      <a:pt x="705608" y="0"/>
                    </a:moveTo>
                    <a:cubicBezTo>
                      <a:pt x="886189" y="-1"/>
                      <a:pt x="1066770" y="68889"/>
                      <a:pt x="1204548" y="206668"/>
                    </a:cubicBezTo>
                    <a:cubicBezTo>
                      <a:pt x="1480106" y="482225"/>
                      <a:pt x="1480106" y="928991"/>
                      <a:pt x="1204548" y="1204548"/>
                    </a:cubicBezTo>
                    <a:lnTo>
                      <a:pt x="806398" y="1602699"/>
                    </a:lnTo>
                    <a:lnTo>
                      <a:pt x="604818" y="1602699"/>
                    </a:lnTo>
                    <a:lnTo>
                      <a:pt x="206668" y="1204548"/>
                    </a:lnTo>
                    <a:cubicBezTo>
                      <a:pt x="-68890" y="928991"/>
                      <a:pt x="-68890" y="482225"/>
                      <a:pt x="206668" y="206668"/>
                    </a:cubicBezTo>
                    <a:cubicBezTo>
                      <a:pt x="344446" y="68889"/>
                      <a:pt x="525027" y="-1"/>
                      <a:pt x="705608" y="0"/>
                    </a:cubicBezTo>
                    <a:close/>
                  </a:path>
                </a:pathLst>
              </a:custGeom>
              <a:solidFill>
                <a:schemeClr val="bg1"/>
              </a:solidFill>
              <a:ln w="19050"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116" name="Rectangle 115"/>
              <p:cNvSpPr/>
              <p:nvPr/>
            </p:nvSpPr>
            <p:spPr>
              <a:xfrm>
                <a:off x="1174666" y="2616200"/>
                <a:ext cx="196934" cy="1349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114" name="Oval 113"/>
            <p:cNvSpPr/>
            <p:nvPr/>
          </p:nvSpPr>
          <p:spPr>
            <a:xfrm>
              <a:off x="2223193" y="1186195"/>
              <a:ext cx="1211296" cy="1211296"/>
            </a:xfrm>
            <a:prstGeom prst="ellipse">
              <a:avLst/>
            </a:prstGeom>
            <a:ln>
              <a:solidFill>
                <a:srgbClr val="F19105"/>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2667" b="1" dirty="0">
                <a:solidFill>
                  <a:srgbClr val="83389B"/>
                </a:solidFill>
              </a:endParaRPr>
            </a:p>
          </p:txBody>
        </p:sp>
      </p:grpSp>
      <p:cxnSp>
        <p:nvCxnSpPr>
          <p:cNvPr id="117" name="Straight Connector 116"/>
          <p:cNvCxnSpPr/>
          <p:nvPr/>
        </p:nvCxnSpPr>
        <p:spPr>
          <a:xfrm>
            <a:off x="11314458" y="3500610"/>
            <a:ext cx="841447" cy="7826"/>
          </a:xfrm>
          <a:prstGeom prst="line">
            <a:avLst/>
          </a:prstGeom>
          <a:ln w="19050" cmpd="sng"/>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352425" y="1999587"/>
            <a:ext cx="1310921" cy="369332"/>
          </a:xfrm>
          <a:prstGeom prst="rect">
            <a:avLst/>
          </a:prstGeom>
          <a:noFill/>
        </p:spPr>
        <p:txBody>
          <a:bodyPr wrap="square" rtlCol="0">
            <a:spAutoFit/>
          </a:bodyPr>
          <a:lstStyle/>
          <a:p>
            <a:pPr algn="ctr"/>
            <a:r>
              <a:rPr lang="en-US" sz="1800" dirty="0">
                <a:solidFill>
                  <a:schemeClr val="accent4"/>
                </a:solidFill>
                <a:latin typeface="Berlin Sans FB" panose="020E0602020502020306" pitchFamily="34" charset="0"/>
              </a:rPr>
              <a:t>Age </a:t>
            </a:r>
          </a:p>
        </p:txBody>
      </p:sp>
      <p:sp>
        <p:nvSpPr>
          <p:cNvPr id="126" name="TextBox 125"/>
          <p:cNvSpPr txBox="1"/>
          <p:nvPr/>
        </p:nvSpPr>
        <p:spPr>
          <a:xfrm>
            <a:off x="2362200" y="2193897"/>
            <a:ext cx="1310921" cy="646331"/>
          </a:xfrm>
          <a:prstGeom prst="rect">
            <a:avLst/>
          </a:prstGeom>
          <a:noFill/>
        </p:spPr>
        <p:txBody>
          <a:bodyPr wrap="square" rtlCol="0">
            <a:spAutoFit/>
          </a:bodyPr>
          <a:lstStyle/>
          <a:p>
            <a:pPr algn="ctr"/>
            <a:r>
              <a:rPr lang="en-US" sz="1800" dirty="0">
                <a:solidFill>
                  <a:srgbClr val="D24848"/>
                </a:solidFill>
                <a:latin typeface="Berlin Sans FB" panose="020E0602020502020306" pitchFamily="34" charset="0"/>
              </a:rPr>
              <a:t>Amount income</a:t>
            </a:r>
          </a:p>
        </p:txBody>
      </p:sp>
      <p:sp>
        <p:nvSpPr>
          <p:cNvPr id="127" name="TextBox 126"/>
          <p:cNvSpPr txBox="1"/>
          <p:nvPr/>
        </p:nvSpPr>
        <p:spPr>
          <a:xfrm>
            <a:off x="4429125" y="1999587"/>
            <a:ext cx="1310921" cy="646331"/>
          </a:xfrm>
          <a:prstGeom prst="rect">
            <a:avLst/>
          </a:prstGeom>
          <a:noFill/>
        </p:spPr>
        <p:txBody>
          <a:bodyPr wrap="square" rtlCol="0">
            <a:spAutoFit/>
          </a:bodyPr>
          <a:lstStyle/>
          <a:p>
            <a:pPr algn="ctr"/>
            <a:r>
              <a:rPr lang="en-US" sz="1800" dirty="0">
                <a:solidFill>
                  <a:srgbClr val="904AA7"/>
                </a:solidFill>
                <a:latin typeface="Berlin Sans FB" panose="020E0602020502020306" pitchFamily="34" charset="0"/>
              </a:rPr>
              <a:t>Employed years</a:t>
            </a:r>
          </a:p>
        </p:txBody>
      </p:sp>
      <p:sp>
        <p:nvSpPr>
          <p:cNvPr id="128" name="TextBox 127"/>
          <p:cNvSpPr txBox="1"/>
          <p:nvPr/>
        </p:nvSpPr>
        <p:spPr>
          <a:xfrm>
            <a:off x="6467475" y="2180562"/>
            <a:ext cx="1310921" cy="646331"/>
          </a:xfrm>
          <a:prstGeom prst="rect">
            <a:avLst/>
          </a:prstGeom>
          <a:noFill/>
        </p:spPr>
        <p:txBody>
          <a:bodyPr wrap="square" rtlCol="0">
            <a:spAutoFit/>
          </a:bodyPr>
          <a:lstStyle/>
          <a:p>
            <a:pPr algn="ctr"/>
            <a:r>
              <a:rPr lang="en-US" sz="1800" dirty="0">
                <a:solidFill>
                  <a:srgbClr val="478ED0"/>
                </a:solidFill>
                <a:latin typeface="Berlin Sans FB" panose="020E0602020502020306" pitchFamily="34" charset="0"/>
              </a:rPr>
              <a:t>Occupation</a:t>
            </a:r>
          </a:p>
          <a:p>
            <a:pPr algn="ctr"/>
            <a:r>
              <a:rPr lang="en-US" sz="1800" dirty="0">
                <a:solidFill>
                  <a:srgbClr val="478ED0"/>
                </a:solidFill>
                <a:latin typeface="Berlin Sans FB" panose="020E0602020502020306" pitchFamily="34" charset="0"/>
              </a:rPr>
              <a:t>Type</a:t>
            </a:r>
          </a:p>
        </p:txBody>
      </p:sp>
      <p:sp>
        <p:nvSpPr>
          <p:cNvPr id="129" name="TextBox 128"/>
          <p:cNvSpPr txBox="1"/>
          <p:nvPr/>
        </p:nvSpPr>
        <p:spPr>
          <a:xfrm>
            <a:off x="8533130" y="1963392"/>
            <a:ext cx="1310921" cy="646331"/>
          </a:xfrm>
          <a:prstGeom prst="rect">
            <a:avLst/>
          </a:prstGeom>
          <a:noFill/>
        </p:spPr>
        <p:txBody>
          <a:bodyPr wrap="square" rtlCol="0">
            <a:spAutoFit/>
          </a:bodyPr>
          <a:lstStyle/>
          <a:p>
            <a:pPr algn="ctr"/>
            <a:r>
              <a:rPr lang="en-US" sz="1800" dirty="0">
                <a:solidFill>
                  <a:srgbClr val="4A8621"/>
                </a:solidFill>
                <a:latin typeface="Berlin Sans FB" panose="020E0602020502020306" pitchFamily="34" charset="0"/>
              </a:rPr>
              <a:t>Count fam members</a:t>
            </a:r>
          </a:p>
        </p:txBody>
      </p:sp>
      <p:sp>
        <p:nvSpPr>
          <p:cNvPr id="130" name="TextBox 129"/>
          <p:cNvSpPr txBox="1"/>
          <p:nvPr/>
        </p:nvSpPr>
        <p:spPr>
          <a:xfrm>
            <a:off x="10534650" y="2237712"/>
            <a:ext cx="1310921" cy="646331"/>
          </a:xfrm>
          <a:prstGeom prst="rect">
            <a:avLst/>
          </a:prstGeom>
          <a:noFill/>
        </p:spPr>
        <p:txBody>
          <a:bodyPr wrap="square" rtlCol="0">
            <a:spAutoFit/>
          </a:bodyPr>
          <a:lstStyle/>
          <a:p>
            <a:pPr algn="ctr"/>
            <a:r>
              <a:rPr lang="en-US" sz="1800" dirty="0">
                <a:solidFill>
                  <a:srgbClr val="F19105"/>
                </a:solidFill>
                <a:latin typeface="Berlin Sans FB" panose="020E0602020502020306" pitchFamily="34" charset="0"/>
              </a:rPr>
              <a:t>Family status </a:t>
            </a:r>
          </a:p>
        </p:txBody>
      </p:sp>
      <p:sp>
        <p:nvSpPr>
          <p:cNvPr id="55" name="TextBox 54"/>
          <p:cNvSpPr txBox="1"/>
          <p:nvPr/>
        </p:nvSpPr>
        <p:spPr>
          <a:xfrm>
            <a:off x="6114951" y="3624132"/>
            <a:ext cx="2034678" cy="2677656"/>
          </a:xfrm>
          <a:prstGeom prst="rect">
            <a:avLst/>
          </a:prstGeom>
          <a:solidFill>
            <a:schemeClr val="bg1">
              <a:lumMod val="85000"/>
            </a:schemeClr>
          </a:solidFill>
        </p:spPr>
        <p:txBody>
          <a:bodyPr wrap="square" rtlCol="0">
            <a:spAutoFit/>
          </a:bodyPr>
          <a:lstStyle/>
          <a:p>
            <a:pPr marL="171450" indent="-171450">
              <a:buFont typeface="Arial" panose="020B0604020202020204" pitchFamily="34" charset="0"/>
              <a:buChar char="•"/>
            </a:pPr>
            <a:r>
              <a:rPr lang="en-US" sz="1200" dirty="0">
                <a:solidFill>
                  <a:schemeClr val="tx1"/>
                </a:solidFill>
                <a:latin typeface="Futura Lt BT" panose="020B0402020204020303"/>
              </a:rPr>
              <a:t>Applicant's occupational details are described in this column. </a:t>
            </a:r>
          </a:p>
          <a:p>
            <a:pPr marL="171450" indent="-171450">
              <a:buFont typeface="Arial" panose="020B0604020202020204" pitchFamily="34" charset="0"/>
              <a:buChar char="•"/>
            </a:pPr>
            <a:r>
              <a:rPr lang="en-US" sz="1200" dirty="0">
                <a:solidFill>
                  <a:schemeClr val="tx1"/>
                </a:solidFill>
                <a:latin typeface="Futura Lt BT" panose="020B0402020204020303"/>
              </a:rPr>
              <a:t>There are 30% null values and in order to justify this a new category called "Retired" has been formed and rest are filled by NA.</a:t>
            </a:r>
          </a:p>
          <a:p>
            <a:pPr marL="171450" indent="-171450">
              <a:buFont typeface="Arial" panose="020B0604020202020204" pitchFamily="34" charset="0"/>
              <a:buChar char="•"/>
            </a:pPr>
            <a:r>
              <a:rPr lang="en-US" sz="1200" dirty="0">
                <a:solidFill>
                  <a:schemeClr val="tx1"/>
                </a:solidFill>
                <a:latin typeface="Futura Lt BT" panose="020B0402020204020303"/>
              </a:rPr>
              <a:t>Low skill labourers had faced the maximum rejection rate of about 19% with Private service staff being the most eligible candidates.</a:t>
            </a:r>
          </a:p>
        </p:txBody>
      </p:sp>
      <p:sp>
        <p:nvSpPr>
          <p:cNvPr id="57" name="TextBox 56"/>
          <p:cNvSpPr txBox="1"/>
          <p:nvPr/>
        </p:nvSpPr>
        <p:spPr>
          <a:xfrm>
            <a:off x="2064921" y="3624132"/>
            <a:ext cx="1881621" cy="2677656"/>
          </a:xfrm>
          <a:prstGeom prst="rect">
            <a:avLst/>
          </a:prstGeom>
          <a:solidFill>
            <a:schemeClr val="bg1">
              <a:lumMod val="85000"/>
            </a:schemeClr>
          </a:solidFill>
        </p:spPr>
        <p:txBody>
          <a:bodyPr wrap="square" rtlCol="0">
            <a:spAutoFit/>
          </a:bodyPr>
          <a:lstStyle/>
          <a:p>
            <a:pPr marL="171450" indent="-171450">
              <a:buFont typeface="Arial" panose="020B0604020202020204" pitchFamily="34" charset="0"/>
              <a:buChar char="•"/>
            </a:pPr>
            <a:r>
              <a:rPr lang="en-US" sz="1200" dirty="0">
                <a:latin typeface="Futura Lt BT" panose="020B0402020204020303"/>
              </a:rPr>
              <a:t>Applicant's income is a vital component in deciding the eligibility with a mean of 1.8 Lakhs. </a:t>
            </a:r>
            <a:endParaRPr lang="en-US" sz="1200" dirty="0">
              <a:solidFill>
                <a:schemeClr val="tx1"/>
              </a:solidFill>
              <a:latin typeface="Futura Lt BT" panose="020B0402020204020303"/>
            </a:endParaRPr>
          </a:p>
          <a:p>
            <a:pPr marL="171450" indent="-171450">
              <a:buFont typeface="Arial" panose="020B0604020202020204" pitchFamily="34" charset="0"/>
              <a:buChar char="•"/>
            </a:pPr>
            <a:r>
              <a:rPr lang="en-US" sz="1200" dirty="0">
                <a:latin typeface="Futura Lt BT" panose="020B0402020204020303"/>
              </a:rPr>
              <a:t>Income has been bucketed into 5 categories with majority of the population falling under Medium bucket</a:t>
            </a:r>
          </a:p>
          <a:p>
            <a:pPr marL="171450" indent="-171450">
              <a:buFont typeface="Arial" panose="020B0604020202020204" pitchFamily="34" charset="0"/>
              <a:buChar char="•"/>
            </a:pPr>
            <a:endParaRPr lang="en-US" sz="1200" dirty="0">
              <a:latin typeface="Futura Lt BT" panose="020B0402020204020303"/>
            </a:endParaRPr>
          </a:p>
          <a:p>
            <a:pPr marL="171450" indent="-171450">
              <a:buFont typeface="Arial" panose="020B0604020202020204" pitchFamily="34" charset="0"/>
              <a:buChar char="•"/>
            </a:pPr>
            <a:endParaRPr lang="en-US" sz="1200" dirty="0">
              <a:latin typeface="Futura Lt BT" panose="020B0402020204020303"/>
            </a:endParaRPr>
          </a:p>
          <a:p>
            <a:pPr marL="171450" indent="-171450">
              <a:buFont typeface="Arial" panose="020B0604020202020204" pitchFamily="34" charset="0"/>
              <a:buChar char="•"/>
            </a:pPr>
            <a:endParaRPr lang="en-US" sz="1200" dirty="0">
              <a:latin typeface="Futura Lt BT" panose="020B0402020204020303"/>
            </a:endParaRPr>
          </a:p>
        </p:txBody>
      </p:sp>
      <p:sp>
        <p:nvSpPr>
          <p:cNvPr id="58" name="TextBox 57"/>
          <p:cNvSpPr txBox="1"/>
          <p:nvPr/>
        </p:nvSpPr>
        <p:spPr>
          <a:xfrm>
            <a:off x="4064409" y="3624132"/>
            <a:ext cx="1995297" cy="2677656"/>
          </a:xfrm>
          <a:prstGeom prst="rect">
            <a:avLst/>
          </a:prstGeom>
          <a:solidFill>
            <a:schemeClr val="bg1">
              <a:lumMod val="85000"/>
            </a:schemeClr>
          </a:solidFill>
        </p:spPr>
        <p:txBody>
          <a:bodyPr wrap="square" rtlCol="0">
            <a:spAutoFit/>
          </a:bodyPr>
          <a:lstStyle/>
          <a:p>
            <a:pPr marL="171450" indent="-171450">
              <a:buFont typeface="Arial" panose="020B0604020202020204" pitchFamily="34" charset="0"/>
              <a:buChar char="•"/>
            </a:pPr>
            <a:r>
              <a:rPr lang="en-US" sz="1200" dirty="0">
                <a:latin typeface="Futura Lt BT" panose="020B0402020204020303"/>
              </a:rPr>
              <a:t>Work experience is another vital aspect to understand person capacity to payback loan. </a:t>
            </a:r>
          </a:p>
          <a:p>
            <a:pPr marL="171450" indent="-171450">
              <a:buFont typeface="Arial" panose="020B0604020202020204" pitchFamily="34" charset="0"/>
              <a:buChar char="•"/>
            </a:pPr>
            <a:r>
              <a:rPr lang="en-US" sz="1200" dirty="0">
                <a:latin typeface="Futura Lt BT" panose="020B0402020204020303"/>
              </a:rPr>
              <a:t>Retired people are also considered in this column and replaced to 0. </a:t>
            </a:r>
          </a:p>
          <a:p>
            <a:pPr marL="171450" indent="-171450">
              <a:buFont typeface="Arial" panose="020B0604020202020204" pitchFamily="34" charset="0"/>
              <a:buChar char="•"/>
            </a:pPr>
            <a:r>
              <a:rPr lang="en-US" sz="1200" dirty="0">
                <a:latin typeface="Futura Lt BT" panose="020B0402020204020303"/>
              </a:rPr>
              <a:t>With higher years of Employment the rejection rate is decreased. </a:t>
            </a:r>
            <a:endParaRPr lang="en-US" sz="1200" dirty="0">
              <a:solidFill>
                <a:schemeClr val="tx1"/>
              </a:solidFill>
              <a:latin typeface="Futura Lt BT" panose="020B0402020204020303"/>
            </a:endParaRPr>
          </a:p>
          <a:p>
            <a:pPr marL="171450" indent="-171450">
              <a:buFont typeface="Arial" panose="020B0604020202020204" pitchFamily="34" charset="0"/>
              <a:buChar char="•"/>
            </a:pPr>
            <a:r>
              <a:rPr lang="en-US" sz="1200" dirty="0">
                <a:latin typeface="Futura Lt BT" panose="020B0402020204020303"/>
              </a:rPr>
              <a:t>Applicants with more than 30 years of service are most likely not to be rejected.</a:t>
            </a:r>
          </a:p>
        </p:txBody>
      </p:sp>
      <p:sp>
        <p:nvSpPr>
          <p:cNvPr id="52" name="TextBox 51"/>
          <p:cNvSpPr txBox="1"/>
          <p:nvPr/>
        </p:nvSpPr>
        <p:spPr>
          <a:xfrm>
            <a:off x="8241449" y="3624132"/>
            <a:ext cx="1947291" cy="2677656"/>
          </a:xfrm>
          <a:prstGeom prst="rect">
            <a:avLst/>
          </a:prstGeom>
          <a:solidFill>
            <a:schemeClr val="bg1">
              <a:lumMod val="85000"/>
            </a:schemeClr>
          </a:solidFill>
        </p:spPr>
        <p:txBody>
          <a:bodyPr wrap="square" rtlCol="0">
            <a:spAutoFit/>
          </a:bodyPr>
          <a:lstStyle/>
          <a:p>
            <a:pPr marL="171450" indent="-171450">
              <a:buFont typeface="Arial" panose="020B0604020202020204" pitchFamily="34" charset="0"/>
              <a:buChar char="•"/>
            </a:pPr>
            <a:r>
              <a:rPr lang="en-US" sz="1200" dirty="0">
                <a:solidFill>
                  <a:schemeClr val="tx1"/>
                </a:solidFill>
                <a:latin typeface="Futura Lt BT" panose="020B0402020204020303"/>
              </a:rPr>
              <a:t>No of Family members can be vital to understand dependencies of the applicant. </a:t>
            </a:r>
          </a:p>
          <a:p>
            <a:pPr marL="171450" indent="-171450">
              <a:buFont typeface="Arial" panose="020B0604020202020204" pitchFamily="34" charset="0"/>
              <a:buChar char="•"/>
            </a:pPr>
            <a:r>
              <a:rPr lang="en-US" sz="1200" dirty="0">
                <a:solidFill>
                  <a:schemeClr val="tx1"/>
                </a:solidFill>
                <a:latin typeface="Futura Lt BT" panose="020B0402020204020303"/>
              </a:rPr>
              <a:t>People having Family members greater than 4 have been treated as outliers. </a:t>
            </a:r>
          </a:p>
          <a:p>
            <a:pPr marL="171450" indent="-171450">
              <a:buFont typeface="Arial" panose="020B0604020202020204" pitchFamily="34" charset="0"/>
              <a:buChar char="•"/>
            </a:pPr>
            <a:r>
              <a:rPr lang="en-US" sz="1200" dirty="0">
                <a:solidFill>
                  <a:schemeClr val="tx1"/>
                </a:solidFill>
                <a:latin typeface="Futura Lt BT" panose="020B0402020204020303"/>
              </a:rPr>
              <a:t>The rejection rate of people with family members more than 4 has gone up to 67%.</a:t>
            </a:r>
          </a:p>
          <a:p>
            <a:endParaRPr lang="en-US" sz="1200" dirty="0">
              <a:solidFill>
                <a:schemeClr val="tx1"/>
              </a:solidFill>
              <a:latin typeface="Futura Lt BT" panose="020B0402020204020303"/>
            </a:endParaRPr>
          </a:p>
        </p:txBody>
      </p:sp>
      <p:sp>
        <p:nvSpPr>
          <p:cNvPr id="59" name="TextBox 58"/>
          <p:cNvSpPr txBox="1"/>
          <p:nvPr/>
        </p:nvSpPr>
        <p:spPr>
          <a:xfrm>
            <a:off x="10303940" y="3624132"/>
            <a:ext cx="1774560" cy="2677656"/>
          </a:xfrm>
          <a:prstGeom prst="rect">
            <a:avLst/>
          </a:prstGeom>
          <a:solidFill>
            <a:schemeClr val="bg1">
              <a:lumMod val="85000"/>
            </a:schemeClr>
          </a:solidFill>
        </p:spPr>
        <p:txBody>
          <a:bodyPr wrap="square" rtlCol="0">
            <a:spAutoFit/>
          </a:bodyPr>
          <a:lstStyle/>
          <a:p>
            <a:pPr marL="171450" indent="-171450">
              <a:buFont typeface="Arial" panose="020B0604020202020204" pitchFamily="34" charset="0"/>
              <a:buChar char="•"/>
            </a:pPr>
            <a:r>
              <a:rPr lang="en-US" sz="1200" dirty="0">
                <a:solidFill>
                  <a:schemeClr val="tx1"/>
                </a:solidFill>
                <a:latin typeface="Futura Lt BT" panose="020B0402020204020303"/>
              </a:rPr>
              <a:t>Marital status is represented by this column. </a:t>
            </a:r>
          </a:p>
          <a:p>
            <a:pPr marL="171450" indent="-171450">
              <a:buFont typeface="Arial" panose="020B0604020202020204" pitchFamily="34" charset="0"/>
              <a:buChar char="•"/>
            </a:pPr>
            <a:r>
              <a:rPr lang="en-US" sz="1200" dirty="0">
                <a:solidFill>
                  <a:schemeClr val="tx1"/>
                </a:solidFill>
                <a:latin typeface="Futura Lt BT" panose="020B0402020204020303"/>
              </a:rPr>
              <a:t>69% of our applicants are married.</a:t>
            </a:r>
          </a:p>
          <a:p>
            <a:pPr marL="171450" indent="-171450">
              <a:buFont typeface="Arial" panose="020B0604020202020204" pitchFamily="34" charset="0"/>
              <a:buChar char="•"/>
            </a:pPr>
            <a:r>
              <a:rPr lang="en-US" sz="1200" dirty="0">
                <a:solidFill>
                  <a:schemeClr val="tx1"/>
                </a:solidFill>
                <a:latin typeface="Futura Lt BT" panose="020B0402020204020303"/>
              </a:rPr>
              <a:t> 13% is the maximum rejection rate and is faced by Single applicants followed by Civil marriage.</a:t>
            </a:r>
          </a:p>
          <a:p>
            <a:pPr marL="171450" indent="-171450">
              <a:buFont typeface="Arial" panose="020B0604020202020204" pitchFamily="34" charset="0"/>
              <a:buChar char="•"/>
            </a:pPr>
            <a:endParaRPr lang="en-US" sz="1200" dirty="0">
              <a:solidFill>
                <a:schemeClr val="tx1"/>
              </a:solidFill>
              <a:latin typeface="Futura Lt BT" panose="020B0402020204020303"/>
            </a:endParaRPr>
          </a:p>
          <a:p>
            <a:pPr marL="171450" indent="-171450">
              <a:buFont typeface="Arial" panose="020B0604020202020204" pitchFamily="34" charset="0"/>
              <a:buChar char="•"/>
            </a:pPr>
            <a:endParaRPr lang="en-US" sz="1200" dirty="0">
              <a:solidFill>
                <a:schemeClr val="tx1"/>
              </a:solidFill>
              <a:latin typeface="Futura Lt BT" panose="020B0402020204020303"/>
            </a:endParaRPr>
          </a:p>
          <a:p>
            <a:endParaRPr lang="en-US" sz="1200" dirty="0">
              <a:solidFill>
                <a:schemeClr val="tx1"/>
              </a:solidFill>
              <a:latin typeface="Futura Lt BT" panose="020B0402020204020303"/>
            </a:endParaRPr>
          </a:p>
          <a:p>
            <a:pPr marL="171450" indent="-171450">
              <a:buFont typeface="Arial" panose="020B0604020202020204" pitchFamily="34" charset="0"/>
              <a:buChar char="•"/>
            </a:pPr>
            <a:endParaRPr lang="en-US" sz="1200" dirty="0">
              <a:solidFill>
                <a:schemeClr val="tx1"/>
              </a:solidFill>
              <a:latin typeface="Futura Lt BT" panose="020B0402020204020303"/>
            </a:endParaRPr>
          </a:p>
        </p:txBody>
      </p:sp>
    </p:spTree>
    <p:extLst>
      <p:ext uri="{BB962C8B-B14F-4D97-AF65-F5344CB8AC3E}">
        <p14:creationId xmlns:p14="http://schemas.microsoft.com/office/powerpoint/2010/main" val="2191228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9401" y="328169"/>
            <a:ext cx="11658600" cy="5878563"/>
            <a:chOff x="279401" y="328169"/>
            <a:chExt cx="11658600" cy="5878563"/>
          </a:xfrm>
        </p:grpSpPr>
        <p:sp>
          <p:nvSpPr>
            <p:cNvPr id="52" name="Flowchart: Magnetic Disk 51"/>
            <p:cNvSpPr/>
            <p:nvPr/>
          </p:nvSpPr>
          <p:spPr>
            <a:xfrm>
              <a:off x="279401" y="4545332"/>
              <a:ext cx="1943100" cy="952500"/>
            </a:xfrm>
            <a:prstGeom prst="flowChartMagneticDisk">
              <a:avLst/>
            </a:prstGeom>
            <a:solidFill>
              <a:srgbClr val="00588A"/>
            </a:solidFill>
            <a:ln w="9525">
              <a:solidFill>
                <a:srgbClr val="FFDD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01</a:t>
              </a:r>
            </a:p>
          </p:txBody>
        </p:sp>
        <p:sp>
          <p:nvSpPr>
            <p:cNvPr id="53" name="Flowchart: Magnetic Disk 52"/>
            <p:cNvSpPr/>
            <p:nvPr/>
          </p:nvSpPr>
          <p:spPr>
            <a:xfrm>
              <a:off x="2222501" y="4174089"/>
              <a:ext cx="1943100" cy="952500"/>
            </a:xfrm>
            <a:prstGeom prst="flowChartMagneticDisk">
              <a:avLst/>
            </a:prstGeom>
            <a:solidFill>
              <a:srgbClr val="68B8D4"/>
            </a:solidFill>
            <a:ln w="9525">
              <a:solidFill>
                <a:srgbClr val="ACC3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4"/>
                  </a:solidFill>
                </a:rPr>
                <a:t>02</a:t>
              </a:r>
            </a:p>
          </p:txBody>
        </p:sp>
        <p:sp>
          <p:nvSpPr>
            <p:cNvPr id="54" name="Flowchart: Magnetic Disk 53"/>
            <p:cNvSpPr/>
            <p:nvPr/>
          </p:nvSpPr>
          <p:spPr>
            <a:xfrm>
              <a:off x="4165601" y="3784485"/>
              <a:ext cx="1943100" cy="952500"/>
            </a:xfrm>
            <a:prstGeom prst="flowChartMagneticDisk">
              <a:avLst/>
            </a:prstGeom>
            <a:solidFill>
              <a:srgbClr val="D9D9D9"/>
            </a:solidFill>
            <a:ln w="9525">
              <a:solidFill>
                <a:srgbClr val="FFDD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03</a:t>
              </a:r>
            </a:p>
          </p:txBody>
        </p:sp>
        <p:sp>
          <p:nvSpPr>
            <p:cNvPr id="55" name="Flowchart: Magnetic Disk 54"/>
            <p:cNvSpPr/>
            <p:nvPr/>
          </p:nvSpPr>
          <p:spPr>
            <a:xfrm>
              <a:off x="6108701" y="3374793"/>
              <a:ext cx="1943100" cy="952500"/>
            </a:xfrm>
            <a:prstGeom prst="flowChartMagneticDisk">
              <a:avLst/>
            </a:prstGeom>
            <a:solidFill>
              <a:srgbClr val="00588A"/>
            </a:solidFill>
            <a:ln w="9525">
              <a:solidFill>
                <a:srgbClr val="ACC3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04</a:t>
              </a:r>
            </a:p>
          </p:txBody>
        </p:sp>
        <p:sp>
          <p:nvSpPr>
            <p:cNvPr id="56" name="Flowchart: Magnetic Disk 55"/>
            <p:cNvSpPr/>
            <p:nvPr/>
          </p:nvSpPr>
          <p:spPr>
            <a:xfrm>
              <a:off x="8051801" y="3117216"/>
              <a:ext cx="1943100" cy="952500"/>
            </a:xfrm>
            <a:prstGeom prst="flowChartMagneticDisk">
              <a:avLst/>
            </a:prstGeom>
            <a:solidFill>
              <a:srgbClr val="68B8D4"/>
            </a:solidFill>
            <a:ln w="9525">
              <a:solidFill>
                <a:srgbClr val="FFDD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4"/>
                  </a:solidFill>
                </a:rPr>
                <a:t>05</a:t>
              </a:r>
            </a:p>
          </p:txBody>
        </p:sp>
        <p:sp>
          <p:nvSpPr>
            <p:cNvPr id="57" name="Flowchart: Magnetic Disk 56"/>
            <p:cNvSpPr/>
            <p:nvPr/>
          </p:nvSpPr>
          <p:spPr>
            <a:xfrm>
              <a:off x="9994901" y="2796309"/>
              <a:ext cx="1943100" cy="952500"/>
            </a:xfrm>
            <a:prstGeom prst="flowChartMagneticDisk">
              <a:avLst/>
            </a:prstGeom>
            <a:solidFill>
              <a:srgbClr val="D9D9D9"/>
            </a:solidFill>
            <a:ln w="9525">
              <a:solidFill>
                <a:srgbClr val="ACC3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06</a:t>
              </a:r>
            </a:p>
          </p:txBody>
        </p:sp>
        <p:sp>
          <p:nvSpPr>
            <p:cNvPr id="58" name="TextBox 57"/>
            <p:cNvSpPr txBox="1"/>
            <p:nvPr/>
          </p:nvSpPr>
          <p:spPr>
            <a:xfrm>
              <a:off x="393253" y="3836813"/>
              <a:ext cx="1679388" cy="707886"/>
            </a:xfrm>
            <a:prstGeom prst="rect">
              <a:avLst/>
            </a:prstGeom>
            <a:noFill/>
          </p:spPr>
          <p:txBody>
            <a:bodyPr wrap="square" rtlCol="0">
              <a:spAutoFit/>
            </a:bodyPr>
            <a:lstStyle/>
            <a:p>
              <a:pPr algn="ctr"/>
              <a:r>
                <a:rPr lang="en-US" sz="2000" dirty="0">
                  <a:solidFill>
                    <a:srgbClr val="00588A"/>
                  </a:solidFill>
                  <a:latin typeface="Berlin Sans FB" panose="020E0602020502020306" pitchFamily="34" charset="0"/>
                </a:rPr>
                <a:t>Logistic Regression</a:t>
              </a:r>
              <a:r>
                <a:rPr lang="en-US" sz="1867" b="1" dirty="0">
                  <a:solidFill>
                    <a:srgbClr val="00588A"/>
                  </a:solidFill>
                </a:rPr>
                <a:t> </a:t>
              </a:r>
            </a:p>
          </p:txBody>
        </p:sp>
        <p:sp>
          <p:nvSpPr>
            <p:cNvPr id="59" name="TextBox 58"/>
            <p:cNvSpPr txBox="1"/>
            <p:nvPr/>
          </p:nvSpPr>
          <p:spPr>
            <a:xfrm>
              <a:off x="2355881" y="3394853"/>
              <a:ext cx="1679388" cy="707886"/>
            </a:xfrm>
            <a:prstGeom prst="rect">
              <a:avLst/>
            </a:prstGeom>
            <a:noFill/>
          </p:spPr>
          <p:txBody>
            <a:bodyPr wrap="square" rtlCol="0">
              <a:spAutoFit/>
            </a:bodyPr>
            <a:lstStyle/>
            <a:p>
              <a:pPr algn="ctr"/>
              <a:r>
                <a:rPr lang="en-US" sz="2000" dirty="0">
                  <a:solidFill>
                    <a:srgbClr val="00588A"/>
                  </a:solidFill>
                  <a:latin typeface="Berlin Sans FB" panose="020E0602020502020306" pitchFamily="34" charset="0"/>
                </a:rPr>
                <a:t> </a:t>
              </a:r>
              <a:r>
                <a:rPr lang="en-US" sz="2000" dirty="0">
                  <a:solidFill>
                    <a:srgbClr val="D6492A"/>
                  </a:solidFill>
                  <a:latin typeface="Berlin Sans FB" panose="020E0602020502020306" pitchFamily="34" charset="0"/>
                </a:rPr>
                <a:t>K Neighbors Classifier</a:t>
              </a:r>
            </a:p>
          </p:txBody>
        </p:sp>
        <p:sp>
          <p:nvSpPr>
            <p:cNvPr id="65" name="Title 2">
              <a:extLst>
                <a:ext uri="{FF2B5EF4-FFF2-40B4-BE49-F238E27FC236}">
                  <a16:creationId xmlns:a16="http://schemas.microsoft.com/office/drawing/2014/main" id="{4B3DCF99-4807-2F21-1158-C2E750E92F00}"/>
                </a:ext>
              </a:extLst>
            </p:cNvPr>
            <p:cNvSpPr txBox="1">
              <a:spLocks/>
            </p:cNvSpPr>
            <p:nvPr/>
          </p:nvSpPr>
          <p:spPr>
            <a:xfrm>
              <a:off x="675124" y="328169"/>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Application of Machine Learning Models  </a:t>
              </a:r>
            </a:p>
          </p:txBody>
        </p:sp>
        <p:sp>
          <p:nvSpPr>
            <p:cNvPr id="20" name="TextBox 19"/>
            <p:cNvSpPr txBox="1"/>
            <p:nvPr/>
          </p:nvSpPr>
          <p:spPr>
            <a:xfrm>
              <a:off x="4263683" y="2993533"/>
              <a:ext cx="1679388" cy="707886"/>
            </a:xfrm>
            <a:prstGeom prst="rect">
              <a:avLst/>
            </a:prstGeom>
            <a:noFill/>
          </p:spPr>
          <p:txBody>
            <a:bodyPr wrap="square" rtlCol="0">
              <a:spAutoFit/>
            </a:bodyPr>
            <a:lstStyle/>
            <a:p>
              <a:pPr algn="ctr"/>
              <a:r>
                <a:rPr lang="en-US" sz="2000" dirty="0">
                  <a:solidFill>
                    <a:srgbClr val="D6492A"/>
                  </a:solidFill>
                  <a:latin typeface="Berlin Sans FB" panose="020E0602020502020306" pitchFamily="34" charset="0"/>
                </a:rPr>
                <a:t> </a:t>
              </a:r>
              <a:r>
                <a:rPr lang="en-US" sz="2000" dirty="0">
                  <a:solidFill>
                    <a:srgbClr val="00588A"/>
                  </a:solidFill>
                  <a:latin typeface="Berlin Sans FB" panose="020E0602020502020306" pitchFamily="34" charset="0"/>
                </a:rPr>
                <a:t>Decision Tree</a:t>
              </a:r>
            </a:p>
            <a:p>
              <a:pPr algn="ctr"/>
              <a:r>
                <a:rPr lang="en-US" sz="2000" dirty="0">
                  <a:solidFill>
                    <a:srgbClr val="00588A"/>
                  </a:solidFill>
                  <a:latin typeface="Berlin Sans FB" panose="020E0602020502020306" pitchFamily="34" charset="0"/>
                </a:rPr>
                <a:t>Classifier </a:t>
              </a:r>
              <a:r>
                <a:rPr lang="en-US" sz="1867" b="1" dirty="0">
                  <a:solidFill>
                    <a:srgbClr val="00588A"/>
                  </a:solidFill>
                </a:rPr>
                <a:t> </a:t>
              </a:r>
            </a:p>
          </p:txBody>
        </p:sp>
        <p:sp>
          <p:nvSpPr>
            <p:cNvPr id="21" name="TextBox 20"/>
            <p:cNvSpPr txBox="1"/>
            <p:nvPr/>
          </p:nvSpPr>
          <p:spPr>
            <a:xfrm>
              <a:off x="10103430" y="1723604"/>
              <a:ext cx="1679388" cy="1015663"/>
            </a:xfrm>
            <a:prstGeom prst="rect">
              <a:avLst/>
            </a:prstGeom>
            <a:noFill/>
          </p:spPr>
          <p:txBody>
            <a:bodyPr wrap="square" rtlCol="0">
              <a:spAutoFit/>
            </a:bodyPr>
            <a:lstStyle/>
            <a:p>
              <a:pPr algn="ctr"/>
              <a:r>
                <a:rPr lang="en-US" sz="2000" dirty="0">
                  <a:solidFill>
                    <a:srgbClr val="D6492A"/>
                  </a:solidFill>
                  <a:latin typeface="Berlin Sans FB" panose="020E0602020502020306" pitchFamily="34" charset="0"/>
                </a:rPr>
                <a:t>Random Forest Classifier</a:t>
              </a:r>
            </a:p>
          </p:txBody>
        </p:sp>
        <p:sp>
          <p:nvSpPr>
            <p:cNvPr id="22" name="TextBox 21"/>
            <p:cNvSpPr txBox="1"/>
            <p:nvPr/>
          </p:nvSpPr>
          <p:spPr>
            <a:xfrm>
              <a:off x="8122332" y="2323989"/>
              <a:ext cx="1679388" cy="707886"/>
            </a:xfrm>
            <a:prstGeom prst="rect">
              <a:avLst/>
            </a:prstGeom>
            <a:noFill/>
          </p:spPr>
          <p:txBody>
            <a:bodyPr wrap="square" rtlCol="0">
              <a:spAutoFit/>
            </a:bodyPr>
            <a:lstStyle/>
            <a:p>
              <a:pPr algn="ctr"/>
              <a:r>
                <a:rPr lang="en-US" sz="2000" dirty="0">
                  <a:solidFill>
                    <a:srgbClr val="00588A"/>
                  </a:solidFill>
                  <a:latin typeface="Berlin Sans FB" panose="020E0602020502020306" pitchFamily="34" charset="0"/>
                </a:rPr>
                <a:t>XG Boost</a:t>
              </a:r>
            </a:p>
            <a:p>
              <a:pPr algn="ctr"/>
              <a:r>
                <a:rPr lang="en-US" sz="2000" dirty="0">
                  <a:solidFill>
                    <a:srgbClr val="00588A"/>
                  </a:solidFill>
                  <a:latin typeface="Berlin Sans FB" panose="020E0602020502020306" pitchFamily="34" charset="0"/>
                </a:rPr>
                <a:t>Classifier </a:t>
              </a:r>
              <a:r>
                <a:rPr lang="en-US" sz="1867" b="1" dirty="0">
                  <a:solidFill>
                    <a:srgbClr val="00588A"/>
                  </a:solidFill>
                </a:rPr>
                <a:t> </a:t>
              </a:r>
            </a:p>
          </p:txBody>
        </p:sp>
        <p:sp>
          <p:nvSpPr>
            <p:cNvPr id="23" name="TextBox 22"/>
            <p:cNvSpPr txBox="1"/>
            <p:nvPr/>
          </p:nvSpPr>
          <p:spPr>
            <a:xfrm>
              <a:off x="6186205" y="2324060"/>
              <a:ext cx="1679388" cy="1015663"/>
            </a:xfrm>
            <a:prstGeom prst="rect">
              <a:avLst/>
            </a:prstGeom>
            <a:noFill/>
          </p:spPr>
          <p:txBody>
            <a:bodyPr wrap="square" rtlCol="0">
              <a:spAutoFit/>
            </a:bodyPr>
            <a:lstStyle/>
            <a:p>
              <a:pPr algn="ctr"/>
              <a:r>
                <a:rPr lang="en-US" sz="2000" dirty="0">
                  <a:solidFill>
                    <a:srgbClr val="D6492A"/>
                  </a:solidFill>
                  <a:latin typeface="Berlin Sans FB" panose="020E0602020502020306" pitchFamily="34" charset="0"/>
                </a:rPr>
                <a:t>Gradient Boosting Classifier  </a:t>
              </a:r>
            </a:p>
          </p:txBody>
        </p:sp>
        <p:sp>
          <p:nvSpPr>
            <p:cNvPr id="18" name="TextBox 17"/>
            <p:cNvSpPr txBox="1"/>
            <p:nvPr/>
          </p:nvSpPr>
          <p:spPr>
            <a:xfrm>
              <a:off x="10129297" y="4883293"/>
              <a:ext cx="1679388" cy="1323439"/>
            </a:xfrm>
            <a:prstGeom prst="rect">
              <a:avLst/>
            </a:prstGeom>
            <a:noFill/>
          </p:spPr>
          <p:txBody>
            <a:bodyPr wrap="square" rtlCol="0">
              <a:spAutoFit/>
            </a:bodyPr>
            <a:lstStyle/>
            <a:p>
              <a:pPr algn="ctr"/>
              <a:r>
                <a:rPr lang="en-US" sz="2000" dirty="0">
                  <a:solidFill>
                    <a:srgbClr val="00588A"/>
                  </a:solidFill>
                  <a:latin typeface="Berlin Sans FB" panose="020E0602020502020306" pitchFamily="34" charset="0"/>
                </a:rPr>
                <a:t>Model selected based on performance</a:t>
              </a:r>
            </a:p>
          </p:txBody>
        </p:sp>
        <p:sp>
          <p:nvSpPr>
            <p:cNvPr id="19" name="Right Arrow 18"/>
            <p:cNvSpPr/>
            <p:nvPr/>
          </p:nvSpPr>
          <p:spPr>
            <a:xfrm rot="16200000">
              <a:off x="10579566" y="4192424"/>
              <a:ext cx="753759" cy="37815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03825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9" name="Title 2">
            <a:extLst>
              <a:ext uri="{FF2B5EF4-FFF2-40B4-BE49-F238E27FC236}">
                <a16:creationId xmlns:a16="http://schemas.microsoft.com/office/drawing/2014/main" id="{4B3DCF99-4807-2F21-1158-C2E750E92F00}"/>
              </a:ext>
            </a:extLst>
          </p:cNvPr>
          <p:cNvSpPr txBox="1">
            <a:spLocks/>
          </p:cNvSpPr>
          <p:nvPr/>
        </p:nvSpPr>
        <p:spPr>
          <a:xfrm>
            <a:off x="675124" y="274554"/>
            <a:ext cx="10673771" cy="540202"/>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3600" b="0" dirty="0">
                <a:solidFill>
                  <a:schemeClr val="tx1"/>
                </a:solidFill>
                <a:latin typeface="Berlin Sans FB" panose="020E0602020502020306" pitchFamily="34" charset="0"/>
                <a:cs typeface="Helvetica" panose="020B0604020202020204" pitchFamily="34" charset="0"/>
              </a:rPr>
              <a:t>Accuracy &amp; RMSE   </a:t>
            </a:r>
          </a:p>
        </p:txBody>
      </p:sp>
      <p:pic>
        <p:nvPicPr>
          <p:cNvPr id="2" name="Picture 1"/>
          <p:cNvPicPr>
            <a:picLocks noChangeAspect="1"/>
          </p:cNvPicPr>
          <p:nvPr/>
        </p:nvPicPr>
        <p:blipFill>
          <a:blip r:embed="rId3"/>
          <a:stretch>
            <a:fillRect/>
          </a:stretch>
        </p:blipFill>
        <p:spPr>
          <a:xfrm>
            <a:off x="207835" y="2734056"/>
            <a:ext cx="5534597" cy="3634169"/>
          </a:xfrm>
          <a:prstGeom prst="rect">
            <a:avLst/>
          </a:prstGeom>
        </p:spPr>
      </p:pic>
      <p:pic>
        <p:nvPicPr>
          <p:cNvPr id="3" name="Picture 2"/>
          <p:cNvPicPr>
            <a:picLocks noChangeAspect="1"/>
          </p:cNvPicPr>
          <p:nvPr/>
        </p:nvPicPr>
        <p:blipFill>
          <a:blip r:embed="rId4"/>
          <a:stretch>
            <a:fillRect/>
          </a:stretch>
        </p:blipFill>
        <p:spPr>
          <a:xfrm>
            <a:off x="6042145" y="941662"/>
            <a:ext cx="5942019" cy="5426563"/>
          </a:xfrm>
          <a:prstGeom prst="rect">
            <a:avLst/>
          </a:prstGeom>
        </p:spPr>
      </p:pic>
      <p:sp>
        <p:nvSpPr>
          <p:cNvPr id="6" name="TextBox 5">
            <a:extLst>
              <a:ext uri="{FF2B5EF4-FFF2-40B4-BE49-F238E27FC236}">
                <a16:creationId xmlns:a16="http://schemas.microsoft.com/office/drawing/2014/main" id="{953CF19D-CD94-8A8F-5A6B-58CFAEF9D613}"/>
              </a:ext>
            </a:extLst>
          </p:cNvPr>
          <p:cNvSpPr txBox="1"/>
          <p:nvPr/>
        </p:nvSpPr>
        <p:spPr>
          <a:xfrm>
            <a:off x="207835" y="941662"/>
            <a:ext cx="5527302" cy="1646605"/>
          </a:xfrm>
          <a:prstGeom prst="rect">
            <a:avLst/>
          </a:prstGeom>
          <a:solidFill>
            <a:schemeClr val="bg1">
              <a:lumMod val="85000"/>
            </a:schemeClr>
          </a:solidFill>
        </p:spPr>
        <p:txBody>
          <a:bodyPr wrap="square" rtlCol="0">
            <a:spAutoFit/>
          </a:bodyPr>
          <a:lstStyle/>
          <a:p>
            <a:endParaRPr lang="en-US" sz="1000" dirty="0">
              <a:latin typeface="Futura Lt BT" panose="020B0402020204020303" pitchFamily="34" charset="0"/>
              <a:cs typeface="Calibri" panose="020F0502020204030204" pitchFamily="34" charset="0"/>
            </a:endParaRPr>
          </a:p>
          <a:p>
            <a:pPr marL="285750" indent="-285750">
              <a:buFont typeface="Wingdings" panose="05000000000000000000" pitchFamily="2" charset="2"/>
              <a:buChar char="ü"/>
            </a:pPr>
            <a:r>
              <a:rPr lang="en-US" sz="1600" dirty="0">
                <a:latin typeface="Futura Lt BT" panose="020B0402020204020303" pitchFamily="34" charset="0"/>
                <a:cs typeface="Calibri" panose="020F0502020204030204" pitchFamily="34" charset="0"/>
              </a:rPr>
              <a:t>XGBoost standout among all the models when comparing accuracy score and RMSE</a:t>
            </a:r>
          </a:p>
          <a:p>
            <a:pPr marL="285750" indent="-285750">
              <a:buFont typeface="Wingdings" panose="05000000000000000000" pitchFamily="2" charset="2"/>
              <a:buChar char="ü"/>
            </a:pPr>
            <a:r>
              <a:rPr lang="en-US" sz="1600" dirty="0">
                <a:latin typeface="Futura Lt BT" panose="020B0402020204020303" pitchFamily="34" charset="0"/>
                <a:cs typeface="Calibri" panose="020F0502020204030204" pitchFamily="34" charset="0"/>
              </a:rPr>
              <a:t>accuracy score of train data – 89.87% and test data - 88.70%   </a:t>
            </a:r>
          </a:p>
          <a:p>
            <a:pPr marL="285750" indent="-285750">
              <a:buFont typeface="Wingdings" panose="05000000000000000000" pitchFamily="2" charset="2"/>
              <a:buChar char="ü"/>
            </a:pPr>
            <a:r>
              <a:rPr lang="en-US" sz="1600" dirty="0">
                <a:latin typeface="Futura Lt BT" panose="020B0402020204020303" pitchFamily="34" charset="0"/>
                <a:cs typeface="Calibri" panose="020F0502020204030204" pitchFamily="34" charset="0"/>
              </a:rPr>
              <a:t>RMSE - 0.3362</a:t>
            </a:r>
          </a:p>
          <a:p>
            <a:pPr marL="285750" indent="-285750">
              <a:buFont typeface="Wingdings" panose="05000000000000000000" pitchFamily="2" charset="2"/>
              <a:buChar char="ü"/>
            </a:pPr>
            <a:endParaRPr lang="en-US" sz="1000" dirty="0">
              <a:latin typeface="Futura Lt BT" panose="020B0402020204020303" pitchFamily="34" charset="0"/>
              <a:cs typeface="Calibri" panose="020F0502020204030204" pitchFamily="34" charset="0"/>
            </a:endParaRPr>
          </a:p>
        </p:txBody>
      </p:sp>
    </p:spTree>
    <p:extLst>
      <p:ext uri="{BB962C8B-B14F-4D97-AF65-F5344CB8AC3E}">
        <p14:creationId xmlns:p14="http://schemas.microsoft.com/office/powerpoint/2010/main" val="41889362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grpSp>
        <p:nvGrpSpPr>
          <p:cNvPr id="2" name="Group 1"/>
          <p:cNvGrpSpPr/>
          <p:nvPr/>
        </p:nvGrpSpPr>
        <p:grpSpPr>
          <a:xfrm>
            <a:off x="244931" y="274554"/>
            <a:ext cx="11759643" cy="6043252"/>
            <a:chOff x="244931" y="274554"/>
            <a:chExt cx="11759643" cy="6043252"/>
          </a:xfrm>
        </p:grpSpPr>
        <p:pic>
          <p:nvPicPr>
            <p:cNvPr id="5" name="Picture 4"/>
            <p:cNvPicPr>
              <a:picLocks noChangeAspect="1"/>
            </p:cNvPicPr>
            <p:nvPr/>
          </p:nvPicPr>
          <p:blipFill>
            <a:blip r:embed="rId3"/>
            <a:stretch>
              <a:fillRect/>
            </a:stretch>
          </p:blipFill>
          <p:spPr>
            <a:xfrm>
              <a:off x="4351567" y="3840621"/>
              <a:ext cx="3626095" cy="2477185"/>
            </a:xfrm>
            <a:prstGeom prst="rect">
              <a:avLst/>
            </a:prstGeom>
          </p:spPr>
        </p:pic>
        <p:sp>
          <p:nvSpPr>
            <p:cNvPr id="7" name="TextBox 6"/>
            <p:cNvSpPr txBox="1"/>
            <p:nvPr/>
          </p:nvSpPr>
          <p:spPr>
            <a:xfrm>
              <a:off x="4671331" y="3954228"/>
              <a:ext cx="1621973" cy="307777"/>
            </a:xfrm>
            <a:prstGeom prst="rect">
              <a:avLst/>
            </a:prstGeom>
            <a:noFill/>
          </p:spPr>
          <p:txBody>
            <a:bodyPr wrap="square" rtlCol="0">
              <a:spAutoFit/>
            </a:bodyPr>
            <a:lstStyle/>
            <a:p>
              <a:r>
                <a:rPr lang="en-US" dirty="0">
                  <a:latin typeface="Futura Lt BT" panose="020B0402020204020303"/>
                </a:rPr>
                <a:t>XG Boost Classifier</a:t>
              </a:r>
              <a:endParaRPr lang="en-SG" dirty="0">
                <a:latin typeface="Futura Lt BT" panose="020B0402020204020303"/>
              </a:endParaRPr>
            </a:p>
          </p:txBody>
        </p:sp>
        <p:pic>
          <p:nvPicPr>
            <p:cNvPr id="8" name="Picture 7"/>
            <p:cNvPicPr>
              <a:picLocks noChangeAspect="1"/>
            </p:cNvPicPr>
            <p:nvPr/>
          </p:nvPicPr>
          <p:blipFill>
            <a:blip r:embed="rId4"/>
            <a:stretch>
              <a:fillRect/>
            </a:stretch>
          </p:blipFill>
          <p:spPr>
            <a:xfrm>
              <a:off x="244931" y="957949"/>
              <a:ext cx="3626095" cy="2471225"/>
            </a:xfrm>
            <a:prstGeom prst="rect">
              <a:avLst/>
            </a:prstGeom>
          </p:spPr>
        </p:pic>
        <p:sp>
          <p:nvSpPr>
            <p:cNvPr id="9" name="TextBox 8"/>
            <p:cNvSpPr txBox="1"/>
            <p:nvPr/>
          </p:nvSpPr>
          <p:spPr>
            <a:xfrm>
              <a:off x="606877" y="1035497"/>
              <a:ext cx="1578429" cy="307777"/>
            </a:xfrm>
            <a:prstGeom prst="rect">
              <a:avLst/>
            </a:prstGeom>
            <a:noFill/>
          </p:spPr>
          <p:txBody>
            <a:bodyPr wrap="square" rtlCol="0">
              <a:spAutoFit/>
            </a:bodyPr>
            <a:lstStyle/>
            <a:p>
              <a:r>
                <a:rPr lang="en-US" dirty="0">
                  <a:latin typeface="Futura Lt BT" panose="020B0402020204020303"/>
                </a:rPr>
                <a:t>Logistic Regression</a:t>
              </a:r>
              <a:endParaRPr lang="en-SG" dirty="0">
                <a:latin typeface="Futura Lt BT" panose="020B0402020204020303"/>
              </a:endParaRPr>
            </a:p>
          </p:txBody>
        </p:sp>
        <p:pic>
          <p:nvPicPr>
            <p:cNvPr id="10" name="Picture 9"/>
            <p:cNvPicPr>
              <a:picLocks noChangeAspect="1"/>
            </p:cNvPicPr>
            <p:nvPr/>
          </p:nvPicPr>
          <p:blipFill>
            <a:blip r:embed="rId5"/>
            <a:stretch>
              <a:fillRect/>
            </a:stretch>
          </p:blipFill>
          <p:spPr>
            <a:xfrm>
              <a:off x="8357506" y="3840621"/>
              <a:ext cx="3626096" cy="2438573"/>
            </a:xfrm>
            <a:prstGeom prst="rect">
              <a:avLst/>
            </a:prstGeom>
          </p:spPr>
        </p:pic>
        <p:sp>
          <p:nvSpPr>
            <p:cNvPr id="11" name="TextBox 10"/>
            <p:cNvSpPr txBox="1"/>
            <p:nvPr/>
          </p:nvSpPr>
          <p:spPr>
            <a:xfrm>
              <a:off x="8724895" y="3887553"/>
              <a:ext cx="1785262" cy="307777"/>
            </a:xfrm>
            <a:prstGeom prst="rect">
              <a:avLst/>
            </a:prstGeom>
            <a:noFill/>
          </p:spPr>
          <p:txBody>
            <a:bodyPr wrap="square" rtlCol="0">
              <a:spAutoFit/>
            </a:bodyPr>
            <a:lstStyle/>
            <a:p>
              <a:r>
                <a:rPr lang="en-US" dirty="0">
                  <a:latin typeface="Futura Lt BT" panose="020B0402020204020303"/>
                </a:rPr>
                <a:t>KNeighbors Classifier</a:t>
              </a:r>
              <a:endParaRPr lang="en-SG" dirty="0">
                <a:latin typeface="Futura Lt BT" panose="020B0402020204020303"/>
              </a:endParaRPr>
            </a:p>
          </p:txBody>
        </p:sp>
        <p:pic>
          <p:nvPicPr>
            <p:cNvPr id="12" name="Picture 11"/>
            <p:cNvPicPr>
              <a:picLocks noChangeAspect="1"/>
            </p:cNvPicPr>
            <p:nvPr/>
          </p:nvPicPr>
          <p:blipFill>
            <a:blip r:embed="rId6"/>
            <a:stretch>
              <a:fillRect/>
            </a:stretch>
          </p:blipFill>
          <p:spPr>
            <a:xfrm>
              <a:off x="4351567" y="957949"/>
              <a:ext cx="3641060" cy="2448638"/>
            </a:xfrm>
            <a:prstGeom prst="rect">
              <a:avLst/>
            </a:prstGeom>
          </p:spPr>
        </p:pic>
        <p:sp>
          <p:nvSpPr>
            <p:cNvPr id="13" name="TextBox 12"/>
            <p:cNvSpPr txBox="1"/>
            <p:nvPr/>
          </p:nvSpPr>
          <p:spPr>
            <a:xfrm>
              <a:off x="4720309" y="1035497"/>
              <a:ext cx="1948551" cy="307777"/>
            </a:xfrm>
            <a:prstGeom prst="rect">
              <a:avLst/>
            </a:prstGeom>
            <a:noFill/>
          </p:spPr>
          <p:txBody>
            <a:bodyPr wrap="square" rtlCol="0">
              <a:spAutoFit/>
            </a:bodyPr>
            <a:lstStyle/>
            <a:p>
              <a:r>
                <a:rPr lang="en-US" dirty="0">
                  <a:latin typeface="Futura Lt BT" panose="020B0402020204020303"/>
                </a:rPr>
                <a:t>Decision Tree Classifier</a:t>
              </a:r>
              <a:endParaRPr lang="en-SG" dirty="0">
                <a:latin typeface="Futura Lt BT" panose="020B0402020204020303"/>
              </a:endParaRPr>
            </a:p>
          </p:txBody>
        </p:sp>
        <p:pic>
          <p:nvPicPr>
            <p:cNvPr id="14" name="Picture 13"/>
            <p:cNvPicPr>
              <a:picLocks noChangeAspect="1"/>
            </p:cNvPicPr>
            <p:nvPr/>
          </p:nvPicPr>
          <p:blipFill>
            <a:blip r:embed="rId7"/>
            <a:stretch>
              <a:fillRect/>
            </a:stretch>
          </p:blipFill>
          <p:spPr>
            <a:xfrm>
              <a:off x="8357506" y="957949"/>
              <a:ext cx="3647068" cy="2452678"/>
            </a:xfrm>
            <a:prstGeom prst="rect">
              <a:avLst/>
            </a:prstGeom>
          </p:spPr>
        </p:pic>
        <p:sp>
          <p:nvSpPr>
            <p:cNvPr id="16" name="TextBox 15"/>
            <p:cNvSpPr txBox="1"/>
            <p:nvPr/>
          </p:nvSpPr>
          <p:spPr>
            <a:xfrm>
              <a:off x="8762994" y="1035497"/>
              <a:ext cx="2035635" cy="307777"/>
            </a:xfrm>
            <a:prstGeom prst="rect">
              <a:avLst/>
            </a:prstGeom>
            <a:noFill/>
          </p:spPr>
          <p:txBody>
            <a:bodyPr wrap="square" rtlCol="0">
              <a:spAutoFit/>
            </a:bodyPr>
            <a:lstStyle/>
            <a:p>
              <a:r>
                <a:rPr lang="en-US" dirty="0">
                  <a:latin typeface="Futura Lt BT" panose="020B0402020204020303"/>
                </a:rPr>
                <a:t>Random Forest Classifier</a:t>
              </a:r>
              <a:endParaRPr lang="en-SG" dirty="0">
                <a:latin typeface="Futura Lt BT" panose="020B0402020204020303"/>
              </a:endParaRPr>
            </a:p>
          </p:txBody>
        </p:sp>
        <p:pic>
          <p:nvPicPr>
            <p:cNvPr id="17" name="Picture 16"/>
            <p:cNvPicPr>
              <a:picLocks noChangeAspect="1"/>
            </p:cNvPicPr>
            <p:nvPr/>
          </p:nvPicPr>
          <p:blipFill>
            <a:blip r:embed="rId8"/>
            <a:stretch>
              <a:fillRect/>
            </a:stretch>
          </p:blipFill>
          <p:spPr>
            <a:xfrm>
              <a:off x="244931" y="3840621"/>
              <a:ext cx="3626002" cy="2441802"/>
            </a:xfrm>
            <a:prstGeom prst="rect">
              <a:avLst/>
            </a:prstGeom>
          </p:spPr>
        </p:pic>
        <p:sp>
          <p:nvSpPr>
            <p:cNvPr id="18" name="TextBox 17"/>
            <p:cNvSpPr txBox="1"/>
            <p:nvPr/>
          </p:nvSpPr>
          <p:spPr>
            <a:xfrm>
              <a:off x="600065" y="3887553"/>
              <a:ext cx="2286010" cy="307777"/>
            </a:xfrm>
            <a:prstGeom prst="rect">
              <a:avLst/>
            </a:prstGeom>
            <a:noFill/>
          </p:spPr>
          <p:txBody>
            <a:bodyPr wrap="square" rtlCol="0">
              <a:spAutoFit/>
            </a:bodyPr>
            <a:lstStyle/>
            <a:p>
              <a:r>
                <a:rPr lang="en-US" dirty="0">
                  <a:latin typeface="Futura Lt BT" panose="020B0402020204020303"/>
                </a:rPr>
                <a:t>Gradient Boosting Classifier</a:t>
              </a:r>
              <a:endParaRPr lang="en-SG" dirty="0">
                <a:latin typeface="Futura Lt BT" panose="020B0402020204020303"/>
              </a:endParaRPr>
            </a:p>
          </p:txBody>
        </p:sp>
        <p:sp>
          <p:nvSpPr>
            <p:cNvPr id="19" name="Title 2">
              <a:extLst>
                <a:ext uri="{FF2B5EF4-FFF2-40B4-BE49-F238E27FC236}">
                  <a16:creationId xmlns:a16="http://schemas.microsoft.com/office/drawing/2014/main" id="{4B3DCF99-4807-2F21-1158-C2E750E92F00}"/>
                </a:ext>
              </a:extLst>
            </p:cNvPr>
            <p:cNvSpPr txBox="1">
              <a:spLocks/>
            </p:cNvSpPr>
            <p:nvPr/>
          </p:nvSpPr>
          <p:spPr>
            <a:xfrm>
              <a:off x="675124" y="274554"/>
              <a:ext cx="10673771" cy="540202"/>
            </a:xfrm>
            <a:prstGeom prst="rect">
              <a:avLst/>
            </a:prstGeom>
            <a:noFill/>
            <a:ln>
              <a:noFill/>
            </a:ln>
          </p:spPr>
          <p:txBody>
            <a:bodyPr spcFirstLastPara="1" wrap="square" lIns="91425" tIns="45700" rIns="91425" bIns="45700" anchor="ctr" anchorCtr="0">
              <a:normAutofit lnSpcReduction="100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3600" b="0" dirty="0">
                  <a:solidFill>
                    <a:schemeClr val="tx1"/>
                  </a:solidFill>
                  <a:latin typeface="Berlin Sans FB" panose="020E0602020502020306" pitchFamily="34" charset="0"/>
                  <a:cs typeface="Helvetica" panose="020B0604020202020204" pitchFamily="34" charset="0"/>
                </a:rPr>
                <a:t>ROC Curve  </a:t>
              </a:r>
            </a:p>
          </p:txBody>
        </p:sp>
      </p:grpSp>
    </p:spTree>
    <p:extLst>
      <p:ext uri="{BB962C8B-B14F-4D97-AF65-F5344CB8AC3E}">
        <p14:creationId xmlns:p14="http://schemas.microsoft.com/office/powerpoint/2010/main" val="37375411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6491" y="228056"/>
            <a:ext cx="11176610" cy="6349530"/>
            <a:chOff x="276491" y="228056"/>
            <a:chExt cx="11176610" cy="6349530"/>
          </a:xfrm>
        </p:grpSpPr>
        <p:pic>
          <p:nvPicPr>
            <p:cNvPr id="2" name="Picture 1"/>
            <p:cNvPicPr>
              <a:picLocks noChangeAspect="1"/>
            </p:cNvPicPr>
            <p:nvPr/>
          </p:nvPicPr>
          <p:blipFill>
            <a:blip r:embed="rId3"/>
            <a:stretch>
              <a:fillRect/>
            </a:stretch>
          </p:blipFill>
          <p:spPr>
            <a:xfrm>
              <a:off x="719138" y="897226"/>
              <a:ext cx="2230327" cy="2169823"/>
            </a:xfrm>
            <a:prstGeom prst="rect">
              <a:avLst/>
            </a:prstGeom>
          </p:spPr>
        </p:pic>
        <p:sp>
          <p:nvSpPr>
            <p:cNvPr id="4" name="TextBox 3"/>
            <p:cNvSpPr txBox="1"/>
            <p:nvPr/>
          </p:nvSpPr>
          <p:spPr>
            <a:xfrm>
              <a:off x="733426" y="3096025"/>
              <a:ext cx="2273004" cy="461266"/>
            </a:xfrm>
            <a:prstGeom prst="rect">
              <a:avLst/>
            </a:prstGeom>
            <a:noFill/>
          </p:spPr>
          <p:txBody>
            <a:bodyPr wrap="square" rtlCol="0">
              <a:spAutoFit/>
            </a:bodyPr>
            <a:lstStyle/>
            <a:p>
              <a:r>
                <a:rPr lang="en-US" sz="1200" b="1" dirty="0">
                  <a:solidFill>
                    <a:srgbClr val="00588A"/>
                  </a:solidFill>
                  <a:latin typeface="Futura Lt BT" panose="020B0402020204020303"/>
                </a:rPr>
                <a:t> </a:t>
              </a:r>
              <a:r>
                <a:rPr lang="en-US" sz="1200" dirty="0">
                  <a:solidFill>
                    <a:schemeClr val="tx1"/>
                  </a:solidFill>
                  <a:latin typeface="Futura Lt BT" panose="020B0402020204020303"/>
                </a:rPr>
                <a:t>Eligible(0)          Non-eligible(1)</a:t>
              </a:r>
            </a:p>
            <a:p>
              <a:r>
                <a:rPr lang="en-US" sz="1200" dirty="0">
                  <a:solidFill>
                    <a:schemeClr val="tx1"/>
                  </a:solidFill>
                  <a:latin typeface="Futura Lt BT" panose="020B0402020204020303"/>
                </a:rPr>
                <a:t>          Prediction Labels</a:t>
              </a:r>
            </a:p>
          </p:txBody>
        </p:sp>
        <p:sp>
          <p:nvSpPr>
            <p:cNvPr id="62" name="TextBox 61"/>
            <p:cNvSpPr txBox="1"/>
            <p:nvPr/>
          </p:nvSpPr>
          <p:spPr>
            <a:xfrm rot="16200000">
              <a:off x="-591627" y="1737265"/>
              <a:ext cx="2197902" cy="461665"/>
            </a:xfrm>
            <a:prstGeom prst="rect">
              <a:avLst/>
            </a:prstGeom>
            <a:noFill/>
          </p:spPr>
          <p:txBody>
            <a:bodyPr wrap="square" rtlCol="0">
              <a:spAutoFit/>
            </a:bodyPr>
            <a:lstStyle/>
            <a:p>
              <a:r>
                <a:rPr lang="en-US" sz="1200" dirty="0">
                  <a:latin typeface="Futura Lt BT" panose="020B0402020204020303"/>
                </a:rPr>
                <a:t>                 Actual Labels</a:t>
              </a:r>
            </a:p>
            <a:p>
              <a:r>
                <a:rPr lang="en-US" sz="1200" dirty="0">
                  <a:latin typeface="Futura Lt BT" panose="020B0402020204020303"/>
                </a:rPr>
                <a:t>Non-eligible(1)       Eligible(0)</a:t>
              </a:r>
              <a:endParaRPr lang="en-SG" sz="1200" dirty="0">
                <a:latin typeface="Futura Lt BT" panose="020B0402020204020303"/>
              </a:endParaRPr>
            </a:p>
          </p:txBody>
        </p:sp>
        <p:sp>
          <p:nvSpPr>
            <p:cNvPr id="63" name="TextBox 62"/>
            <p:cNvSpPr txBox="1"/>
            <p:nvPr/>
          </p:nvSpPr>
          <p:spPr>
            <a:xfrm>
              <a:off x="704851" y="609840"/>
              <a:ext cx="2273004" cy="276760"/>
            </a:xfrm>
            <a:prstGeom prst="rect">
              <a:avLst/>
            </a:prstGeom>
            <a:noFill/>
          </p:spPr>
          <p:txBody>
            <a:bodyPr wrap="square" rtlCol="0">
              <a:spAutoFit/>
            </a:bodyPr>
            <a:lstStyle/>
            <a:p>
              <a:pPr algn="ctr"/>
              <a:r>
                <a:rPr lang="en-US" sz="1200" dirty="0">
                  <a:solidFill>
                    <a:srgbClr val="00588A"/>
                  </a:solidFill>
                  <a:latin typeface="Futura Lt BT" panose="020B0402020204020303"/>
                </a:rPr>
                <a:t> </a:t>
              </a:r>
              <a:r>
                <a:rPr lang="en-US" sz="1200" dirty="0">
                  <a:solidFill>
                    <a:srgbClr val="C00000"/>
                  </a:solidFill>
                  <a:latin typeface="Berlin Sans FB" panose="020E0602020502020306" pitchFamily="34" charset="0"/>
                </a:rPr>
                <a:t>Logistic Regression</a:t>
              </a:r>
              <a:r>
                <a:rPr lang="en-US" sz="1200" b="1" dirty="0">
                  <a:solidFill>
                    <a:srgbClr val="C00000"/>
                  </a:solidFill>
                  <a:latin typeface="Berlin Sans FB" panose="020E0602020502020306" pitchFamily="34" charset="0"/>
                </a:rPr>
                <a:t> </a:t>
              </a:r>
            </a:p>
          </p:txBody>
        </p:sp>
        <p:pic>
          <p:nvPicPr>
            <p:cNvPr id="6" name="Picture 5"/>
            <p:cNvPicPr>
              <a:picLocks noChangeAspect="1"/>
            </p:cNvPicPr>
            <p:nvPr/>
          </p:nvPicPr>
          <p:blipFill>
            <a:blip r:embed="rId4"/>
            <a:stretch>
              <a:fillRect/>
            </a:stretch>
          </p:blipFill>
          <p:spPr>
            <a:xfrm>
              <a:off x="4838701" y="897248"/>
              <a:ext cx="2188856" cy="2193877"/>
            </a:xfrm>
            <a:prstGeom prst="rect">
              <a:avLst/>
            </a:prstGeom>
          </p:spPr>
        </p:pic>
        <p:sp>
          <p:nvSpPr>
            <p:cNvPr id="64" name="TextBox 63"/>
            <p:cNvSpPr txBox="1"/>
            <p:nvPr/>
          </p:nvSpPr>
          <p:spPr>
            <a:xfrm>
              <a:off x="4733926" y="609840"/>
              <a:ext cx="2273004" cy="276760"/>
            </a:xfrm>
            <a:prstGeom prst="rect">
              <a:avLst/>
            </a:prstGeom>
            <a:noFill/>
          </p:spPr>
          <p:txBody>
            <a:bodyPr wrap="square" rtlCol="0">
              <a:spAutoFit/>
            </a:bodyPr>
            <a:lstStyle/>
            <a:p>
              <a:pPr algn="ctr"/>
              <a:r>
                <a:rPr lang="en-US" sz="1200" dirty="0">
                  <a:solidFill>
                    <a:srgbClr val="C00000"/>
                  </a:solidFill>
                  <a:latin typeface="Berlin Sans FB" panose="020E0602020502020306" pitchFamily="34" charset="0"/>
                </a:rPr>
                <a:t>Decision Tree Classifier </a:t>
              </a:r>
            </a:p>
          </p:txBody>
        </p:sp>
        <p:pic>
          <p:nvPicPr>
            <p:cNvPr id="7" name="Picture 6"/>
            <p:cNvPicPr>
              <a:picLocks noChangeAspect="1"/>
            </p:cNvPicPr>
            <p:nvPr/>
          </p:nvPicPr>
          <p:blipFill>
            <a:blip r:embed="rId5"/>
            <a:stretch>
              <a:fillRect/>
            </a:stretch>
          </p:blipFill>
          <p:spPr>
            <a:xfrm>
              <a:off x="9187492" y="897260"/>
              <a:ext cx="2207891" cy="2207891"/>
            </a:xfrm>
            <a:prstGeom prst="rect">
              <a:avLst/>
            </a:prstGeom>
          </p:spPr>
        </p:pic>
        <p:sp>
          <p:nvSpPr>
            <p:cNvPr id="65" name="TextBox 64"/>
            <p:cNvSpPr txBox="1"/>
            <p:nvPr/>
          </p:nvSpPr>
          <p:spPr>
            <a:xfrm>
              <a:off x="9153526" y="609840"/>
              <a:ext cx="2273004" cy="276760"/>
            </a:xfrm>
            <a:prstGeom prst="rect">
              <a:avLst/>
            </a:prstGeom>
            <a:noFill/>
          </p:spPr>
          <p:txBody>
            <a:bodyPr wrap="square" rtlCol="0">
              <a:spAutoFit/>
            </a:bodyPr>
            <a:lstStyle/>
            <a:p>
              <a:pPr algn="ctr"/>
              <a:r>
                <a:rPr lang="en-US" sz="1200" dirty="0">
                  <a:solidFill>
                    <a:srgbClr val="C00000"/>
                  </a:solidFill>
                  <a:latin typeface="Berlin Sans FB" panose="020E0602020502020306" pitchFamily="34" charset="0"/>
                </a:rPr>
                <a:t>Random Forest Classifier </a:t>
              </a:r>
            </a:p>
          </p:txBody>
        </p:sp>
        <p:pic>
          <p:nvPicPr>
            <p:cNvPr id="13" name="Picture 12"/>
            <p:cNvPicPr>
              <a:picLocks noChangeAspect="1"/>
            </p:cNvPicPr>
            <p:nvPr/>
          </p:nvPicPr>
          <p:blipFill>
            <a:blip r:embed="rId6"/>
            <a:stretch>
              <a:fillRect/>
            </a:stretch>
          </p:blipFill>
          <p:spPr>
            <a:xfrm>
              <a:off x="719138" y="3926961"/>
              <a:ext cx="2199133" cy="2181289"/>
            </a:xfrm>
            <a:prstGeom prst="rect">
              <a:avLst/>
            </a:prstGeom>
          </p:spPr>
        </p:pic>
        <p:sp>
          <p:nvSpPr>
            <p:cNvPr id="66" name="TextBox 65"/>
            <p:cNvSpPr txBox="1"/>
            <p:nvPr/>
          </p:nvSpPr>
          <p:spPr>
            <a:xfrm>
              <a:off x="704850" y="3625436"/>
              <a:ext cx="2179441" cy="276760"/>
            </a:xfrm>
            <a:prstGeom prst="rect">
              <a:avLst/>
            </a:prstGeom>
            <a:noFill/>
          </p:spPr>
          <p:txBody>
            <a:bodyPr wrap="square" rtlCol="0">
              <a:spAutoFit/>
            </a:bodyPr>
            <a:lstStyle/>
            <a:p>
              <a:pPr algn="ctr"/>
              <a:r>
                <a:rPr lang="en-US" sz="1200" dirty="0">
                  <a:solidFill>
                    <a:srgbClr val="C00000"/>
                  </a:solidFill>
                  <a:latin typeface="Berlin Sans FB" panose="020E0602020502020306" pitchFamily="34" charset="0"/>
                </a:rPr>
                <a:t>Gradient Boosting Classifier</a:t>
              </a:r>
              <a:r>
                <a:rPr lang="en-US" sz="1200" b="1" dirty="0">
                  <a:solidFill>
                    <a:srgbClr val="C00000"/>
                  </a:solidFill>
                  <a:latin typeface="Berlin Sans FB" panose="020E0602020502020306" pitchFamily="34" charset="0"/>
                </a:rPr>
                <a:t> </a:t>
              </a:r>
            </a:p>
          </p:txBody>
        </p:sp>
        <p:pic>
          <p:nvPicPr>
            <p:cNvPr id="14" name="Picture 13"/>
            <p:cNvPicPr>
              <a:picLocks noChangeAspect="1"/>
            </p:cNvPicPr>
            <p:nvPr/>
          </p:nvPicPr>
          <p:blipFill>
            <a:blip r:embed="rId7"/>
            <a:stretch>
              <a:fillRect/>
            </a:stretch>
          </p:blipFill>
          <p:spPr>
            <a:xfrm>
              <a:off x="4838702" y="3926976"/>
              <a:ext cx="2188856" cy="2197790"/>
            </a:xfrm>
            <a:prstGeom prst="rect">
              <a:avLst/>
            </a:prstGeom>
          </p:spPr>
        </p:pic>
        <p:sp>
          <p:nvSpPr>
            <p:cNvPr id="67" name="TextBox 66"/>
            <p:cNvSpPr txBox="1"/>
            <p:nvPr/>
          </p:nvSpPr>
          <p:spPr>
            <a:xfrm>
              <a:off x="4840605" y="3625436"/>
              <a:ext cx="2167371" cy="276760"/>
            </a:xfrm>
            <a:prstGeom prst="rect">
              <a:avLst/>
            </a:prstGeom>
            <a:noFill/>
          </p:spPr>
          <p:txBody>
            <a:bodyPr wrap="square" rtlCol="0">
              <a:spAutoFit/>
            </a:bodyPr>
            <a:lstStyle/>
            <a:p>
              <a:pPr algn="ctr"/>
              <a:r>
                <a:rPr lang="en-US" sz="1200" dirty="0">
                  <a:solidFill>
                    <a:srgbClr val="C00000"/>
                  </a:solidFill>
                  <a:latin typeface="Berlin Sans FB" panose="020E0602020502020306" pitchFamily="34" charset="0"/>
                </a:rPr>
                <a:t>XG Boost Classifier </a:t>
              </a:r>
            </a:p>
          </p:txBody>
        </p:sp>
        <p:pic>
          <p:nvPicPr>
            <p:cNvPr id="15" name="Picture 14"/>
            <p:cNvPicPr>
              <a:picLocks noChangeAspect="1"/>
            </p:cNvPicPr>
            <p:nvPr/>
          </p:nvPicPr>
          <p:blipFill>
            <a:blip r:embed="rId8"/>
            <a:stretch>
              <a:fillRect/>
            </a:stretch>
          </p:blipFill>
          <p:spPr>
            <a:xfrm>
              <a:off x="9187492" y="3926973"/>
              <a:ext cx="2212020" cy="2194000"/>
            </a:xfrm>
            <a:prstGeom prst="rect">
              <a:avLst/>
            </a:prstGeom>
          </p:spPr>
        </p:pic>
        <p:sp>
          <p:nvSpPr>
            <p:cNvPr id="68" name="TextBox 67"/>
            <p:cNvSpPr txBox="1"/>
            <p:nvPr/>
          </p:nvSpPr>
          <p:spPr>
            <a:xfrm>
              <a:off x="9177082" y="3625436"/>
              <a:ext cx="2167371" cy="276760"/>
            </a:xfrm>
            <a:prstGeom prst="rect">
              <a:avLst/>
            </a:prstGeom>
            <a:noFill/>
          </p:spPr>
          <p:txBody>
            <a:bodyPr wrap="square" rtlCol="0">
              <a:spAutoFit/>
            </a:bodyPr>
            <a:lstStyle/>
            <a:p>
              <a:pPr algn="ctr"/>
              <a:r>
                <a:rPr lang="en-US" sz="1200" dirty="0">
                  <a:solidFill>
                    <a:srgbClr val="C00000"/>
                  </a:solidFill>
                  <a:latin typeface="Berlin Sans FB" panose="020E0602020502020306" pitchFamily="34" charset="0"/>
                </a:rPr>
                <a:t>K Neighbors Classifier </a:t>
              </a:r>
            </a:p>
          </p:txBody>
        </p:sp>
        <p:sp>
          <p:nvSpPr>
            <p:cNvPr id="76" name="TextBox 75"/>
            <p:cNvSpPr txBox="1"/>
            <p:nvPr/>
          </p:nvSpPr>
          <p:spPr>
            <a:xfrm>
              <a:off x="4829763" y="3137593"/>
              <a:ext cx="2273004" cy="461266"/>
            </a:xfrm>
            <a:prstGeom prst="rect">
              <a:avLst/>
            </a:prstGeom>
            <a:noFill/>
          </p:spPr>
          <p:txBody>
            <a:bodyPr wrap="square" rtlCol="0">
              <a:spAutoFit/>
            </a:bodyPr>
            <a:lstStyle/>
            <a:p>
              <a:r>
                <a:rPr lang="en-US" sz="1200" b="1" dirty="0">
                  <a:solidFill>
                    <a:srgbClr val="00588A"/>
                  </a:solidFill>
                  <a:latin typeface="Futura Lt BT" panose="020B0402020204020303"/>
                </a:rPr>
                <a:t> </a:t>
              </a:r>
              <a:r>
                <a:rPr lang="en-US" sz="1200" dirty="0">
                  <a:solidFill>
                    <a:schemeClr val="tx1"/>
                  </a:solidFill>
                  <a:latin typeface="Futura Lt BT" panose="020B0402020204020303"/>
                </a:rPr>
                <a:t>Eligible(0)          Non-eligible(1)</a:t>
              </a:r>
            </a:p>
            <a:p>
              <a:r>
                <a:rPr lang="en-US" sz="1200" dirty="0">
                  <a:solidFill>
                    <a:schemeClr val="tx1"/>
                  </a:solidFill>
                  <a:latin typeface="Futura Lt BT" panose="020B0402020204020303"/>
                </a:rPr>
                <a:t>          Prediction Labels</a:t>
              </a:r>
            </a:p>
          </p:txBody>
        </p:sp>
        <p:sp>
          <p:nvSpPr>
            <p:cNvPr id="77" name="TextBox 76"/>
            <p:cNvSpPr txBox="1"/>
            <p:nvPr/>
          </p:nvSpPr>
          <p:spPr>
            <a:xfrm>
              <a:off x="9156997" y="3132977"/>
              <a:ext cx="2273004" cy="461266"/>
            </a:xfrm>
            <a:prstGeom prst="rect">
              <a:avLst/>
            </a:prstGeom>
            <a:noFill/>
          </p:spPr>
          <p:txBody>
            <a:bodyPr wrap="square" rtlCol="0">
              <a:spAutoFit/>
            </a:bodyPr>
            <a:lstStyle/>
            <a:p>
              <a:r>
                <a:rPr lang="en-US" sz="1200" b="1" dirty="0">
                  <a:solidFill>
                    <a:srgbClr val="00588A"/>
                  </a:solidFill>
                  <a:latin typeface="Futura Lt BT" panose="020B0402020204020303"/>
                </a:rPr>
                <a:t> </a:t>
              </a:r>
              <a:r>
                <a:rPr lang="en-US" sz="1200" dirty="0">
                  <a:solidFill>
                    <a:schemeClr val="tx1"/>
                  </a:solidFill>
                  <a:latin typeface="Futura Lt BT" panose="020B0402020204020303"/>
                </a:rPr>
                <a:t>Eligible(0)          Non-eligible(1)</a:t>
              </a:r>
            </a:p>
            <a:p>
              <a:r>
                <a:rPr lang="en-US" sz="1200" dirty="0">
                  <a:solidFill>
                    <a:schemeClr val="tx1"/>
                  </a:solidFill>
                  <a:latin typeface="Futura Lt BT" panose="020B0402020204020303"/>
                </a:rPr>
                <a:t>          Prediction Labels</a:t>
              </a:r>
            </a:p>
          </p:txBody>
        </p:sp>
        <p:sp>
          <p:nvSpPr>
            <p:cNvPr id="78" name="TextBox 77"/>
            <p:cNvSpPr txBox="1"/>
            <p:nvPr/>
          </p:nvSpPr>
          <p:spPr>
            <a:xfrm>
              <a:off x="756519" y="6111698"/>
              <a:ext cx="2273004" cy="461266"/>
            </a:xfrm>
            <a:prstGeom prst="rect">
              <a:avLst/>
            </a:prstGeom>
            <a:noFill/>
          </p:spPr>
          <p:txBody>
            <a:bodyPr wrap="square" rtlCol="0">
              <a:spAutoFit/>
            </a:bodyPr>
            <a:lstStyle/>
            <a:p>
              <a:r>
                <a:rPr lang="en-US" sz="1200" b="1" dirty="0">
                  <a:solidFill>
                    <a:srgbClr val="00588A"/>
                  </a:solidFill>
                  <a:latin typeface="Futura Lt BT" panose="020B0402020204020303"/>
                </a:rPr>
                <a:t> </a:t>
              </a:r>
              <a:r>
                <a:rPr lang="en-US" sz="1200" dirty="0">
                  <a:solidFill>
                    <a:schemeClr val="tx1"/>
                  </a:solidFill>
                  <a:latin typeface="Futura Lt BT" panose="020B0402020204020303"/>
                </a:rPr>
                <a:t>Eligible(0)          Non-eligible(1)</a:t>
              </a:r>
            </a:p>
            <a:p>
              <a:r>
                <a:rPr lang="en-US" sz="1200" dirty="0">
                  <a:solidFill>
                    <a:schemeClr val="tx1"/>
                  </a:solidFill>
                  <a:latin typeface="Futura Lt BT" panose="020B0402020204020303"/>
                </a:rPr>
                <a:t>          Prediction Labels</a:t>
              </a:r>
            </a:p>
          </p:txBody>
        </p:sp>
        <p:sp>
          <p:nvSpPr>
            <p:cNvPr id="79" name="TextBox 78"/>
            <p:cNvSpPr txBox="1"/>
            <p:nvPr/>
          </p:nvSpPr>
          <p:spPr>
            <a:xfrm>
              <a:off x="4788197" y="6116320"/>
              <a:ext cx="2273004" cy="461266"/>
            </a:xfrm>
            <a:prstGeom prst="rect">
              <a:avLst/>
            </a:prstGeom>
            <a:noFill/>
          </p:spPr>
          <p:txBody>
            <a:bodyPr wrap="square" rtlCol="0">
              <a:spAutoFit/>
            </a:bodyPr>
            <a:lstStyle/>
            <a:p>
              <a:r>
                <a:rPr lang="en-US" sz="1200" b="1" dirty="0">
                  <a:solidFill>
                    <a:srgbClr val="00588A"/>
                  </a:solidFill>
                  <a:latin typeface="Futura Lt BT" panose="020B0402020204020303"/>
                </a:rPr>
                <a:t> </a:t>
              </a:r>
              <a:r>
                <a:rPr lang="en-US" sz="1200" dirty="0">
                  <a:solidFill>
                    <a:schemeClr val="tx1"/>
                  </a:solidFill>
                  <a:latin typeface="Futura Lt BT" panose="020B0402020204020303"/>
                </a:rPr>
                <a:t>Eligible(0)          Non-eligible(1)</a:t>
              </a:r>
            </a:p>
            <a:p>
              <a:r>
                <a:rPr lang="en-US" sz="1200" dirty="0">
                  <a:solidFill>
                    <a:schemeClr val="tx1"/>
                  </a:solidFill>
                  <a:latin typeface="Futura Lt BT" panose="020B0402020204020303"/>
                </a:rPr>
                <a:t>          Prediction Labels</a:t>
              </a:r>
            </a:p>
          </p:txBody>
        </p:sp>
        <p:sp>
          <p:nvSpPr>
            <p:cNvPr id="80" name="TextBox 79"/>
            <p:cNvSpPr txBox="1"/>
            <p:nvPr/>
          </p:nvSpPr>
          <p:spPr>
            <a:xfrm>
              <a:off x="9180097" y="6111703"/>
              <a:ext cx="2273004" cy="461266"/>
            </a:xfrm>
            <a:prstGeom prst="rect">
              <a:avLst/>
            </a:prstGeom>
            <a:noFill/>
          </p:spPr>
          <p:txBody>
            <a:bodyPr wrap="square" rtlCol="0">
              <a:spAutoFit/>
            </a:bodyPr>
            <a:lstStyle/>
            <a:p>
              <a:r>
                <a:rPr lang="en-US" sz="1200" b="1" dirty="0">
                  <a:solidFill>
                    <a:srgbClr val="00588A"/>
                  </a:solidFill>
                  <a:latin typeface="Futura Lt BT" panose="020B0402020204020303"/>
                </a:rPr>
                <a:t> </a:t>
              </a:r>
              <a:r>
                <a:rPr lang="en-US" sz="1200" dirty="0">
                  <a:solidFill>
                    <a:schemeClr val="tx1"/>
                  </a:solidFill>
                  <a:latin typeface="Futura Lt BT" panose="020B0402020204020303"/>
                </a:rPr>
                <a:t>Eligible(0)          Non-eligible(1)</a:t>
              </a:r>
            </a:p>
            <a:p>
              <a:r>
                <a:rPr lang="en-US" sz="1200" dirty="0">
                  <a:solidFill>
                    <a:schemeClr val="tx1"/>
                  </a:solidFill>
                  <a:latin typeface="Futura Lt BT" panose="020B0402020204020303"/>
                </a:rPr>
                <a:t>          Prediction Labels</a:t>
              </a:r>
            </a:p>
          </p:txBody>
        </p:sp>
        <p:sp>
          <p:nvSpPr>
            <p:cNvPr id="81" name="Title 2">
              <a:extLst>
                <a:ext uri="{FF2B5EF4-FFF2-40B4-BE49-F238E27FC236}">
                  <a16:creationId xmlns:a16="http://schemas.microsoft.com/office/drawing/2014/main" id="{4B3DCF99-4807-2F21-1158-C2E750E92F00}"/>
                </a:ext>
              </a:extLst>
            </p:cNvPr>
            <p:cNvSpPr txBox="1">
              <a:spLocks/>
            </p:cNvSpPr>
            <p:nvPr/>
          </p:nvSpPr>
          <p:spPr>
            <a:xfrm>
              <a:off x="675125" y="228056"/>
              <a:ext cx="10569052" cy="453746"/>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3600" b="0" dirty="0">
                  <a:solidFill>
                    <a:schemeClr val="tx1"/>
                  </a:solidFill>
                  <a:latin typeface="Berlin Sans FB" panose="020E0602020502020306" pitchFamily="34" charset="0"/>
                  <a:cs typeface="Helvetica" panose="020B0604020202020204" pitchFamily="34" charset="0"/>
                </a:rPr>
                <a:t>Confusion Matrix   </a:t>
              </a:r>
            </a:p>
          </p:txBody>
        </p:sp>
      </p:grpSp>
      <p:sp>
        <p:nvSpPr>
          <p:cNvPr id="28" name="TextBox 27"/>
          <p:cNvSpPr txBox="1"/>
          <p:nvPr/>
        </p:nvSpPr>
        <p:spPr>
          <a:xfrm rot="16200000">
            <a:off x="3510981" y="1752505"/>
            <a:ext cx="2197902" cy="461665"/>
          </a:xfrm>
          <a:prstGeom prst="rect">
            <a:avLst/>
          </a:prstGeom>
          <a:noFill/>
        </p:spPr>
        <p:txBody>
          <a:bodyPr wrap="square" rtlCol="0">
            <a:spAutoFit/>
          </a:bodyPr>
          <a:lstStyle/>
          <a:p>
            <a:r>
              <a:rPr lang="en-US" sz="1200" dirty="0">
                <a:latin typeface="Futura Lt BT" panose="020B0402020204020303"/>
              </a:rPr>
              <a:t>                 Actual Labels</a:t>
            </a:r>
          </a:p>
          <a:p>
            <a:r>
              <a:rPr lang="en-US" sz="1200" dirty="0">
                <a:latin typeface="Futura Lt BT" panose="020B0402020204020303"/>
              </a:rPr>
              <a:t>Non-eligible(1)       Eligible(0)</a:t>
            </a:r>
            <a:endParaRPr lang="en-SG" sz="1200" dirty="0">
              <a:latin typeface="Futura Lt BT" panose="020B0402020204020303"/>
            </a:endParaRPr>
          </a:p>
        </p:txBody>
      </p:sp>
      <p:sp>
        <p:nvSpPr>
          <p:cNvPr id="29" name="TextBox 28"/>
          <p:cNvSpPr txBox="1"/>
          <p:nvPr/>
        </p:nvSpPr>
        <p:spPr>
          <a:xfrm rot="16200000">
            <a:off x="7860477" y="1749457"/>
            <a:ext cx="2197902" cy="461665"/>
          </a:xfrm>
          <a:prstGeom prst="rect">
            <a:avLst/>
          </a:prstGeom>
          <a:noFill/>
        </p:spPr>
        <p:txBody>
          <a:bodyPr wrap="square" rtlCol="0">
            <a:spAutoFit/>
          </a:bodyPr>
          <a:lstStyle/>
          <a:p>
            <a:r>
              <a:rPr lang="en-US" sz="1200" dirty="0">
                <a:latin typeface="Futura Lt BT" panose="020B0402020204020303"/>
              </a:rPr>
              <a:t>                 Actual Labels</a:t>
            </a:r>
          </a:p>
          <a:p>
            <a:r>
              <a:rPr lang="en-US" sz="1200" dirty="0">
                <a:latin typeface="Futura Lt BT" panose="020B0402020204020303"/>
              </a:rPr>
              <a:t>Non-eligible(1)       Eligible(0)</a:t>
            </a:r>
            <a:endParaRPr lang="en-SG" sz="1200" dirty="0">
              <a:latin typeface="Futura Lt BT" panose="020B0402020204020303"/>
            </a:endParaRPr>
          </a:p>
        </p:txBody>
      </p:sp>
      <p:sp>
        <p:nvSpPr>
          <p:cNvPr id="30" name="TextBox 29"/>
          <p:cNvSpPr txBox="1"/>
          <p:nvPr/>
        </p:nvSpPr>
        <p:spPr>
          <a:xfrm rot="16200000">
            <a:off x="-603819" y="4788313"/>
            <a:ext cx="2197902" cy="461665"/>
          </a:xfrm>
          <a:prstGeom prst="rect">
            <a:avLst/>
          </a:prstGeom>
          <a:noFill/>
        </p:spPr>
        <p:txBody>
          <a:bodyPr wrap="square" rtlCol="0">
            <a:spAutoFit/>
          </a:bodyPr>
          <a:lstStyle/>
          <a:p>
            <a:r>
              <a:rPr lang="en-US" sz="1200" dirty="0">
                <a:latin typeface="Futura Lt BT" panose="020B0402020204020303"/>
              </a:rPr>
              <a:t>                 Actual Labels</a:t>
            </a:r>
          </a:p>
          <a:p>
            <a:r>
              <a:rPr lang="en-US" sz="1200" dirty="0">
                <a:latin typeface="Futura Lt BT" panose="020B0402020204020303"/>
              </a:rPr>
              <a:t>Non-eligible(1)       Eligible(0)</a:t>
            </a:r>
            <a:endParaRPr lang="en-SG" sz="1200" dirty="0">
              <a:latin typeface="Futura Lt BT" panose="020B0402020204020303"/>
            </a:endParaRPr>
          </a:p>
        </p:txBody>
      </p:sp>
      <p:sp>
        <p:nvSpPr>
          <p:cNvPr id="31" name="TextBox 30"/>
          <p:cNvSpPr txBox="1"/>
          <p:nvPr/>
        </p:nvSpPr>
        <p:spPr>
          <a:xfrm rot="16200000">
            <a:off x="3498789" y="4785265"/>
            <a:ext cx="2197902" cy="461665"/>
          </a:xfrm>
          <a:prstGeom prst="rect">
            <a:avLst/>
          </a:prstGeom>
          <a:noFill/>
        </p:spPr>
        <p:txBody>
          <a:bodyPr wrap="square" rtlCol="0">
            <a:spAutoFit/>
          </a:bodyPr>
          <a:lstStyle/>
          <a:p>
            <a:r>
              <a:rPr lang="en-US" sz="1200" dirty="0">
                <a:latin typeface="Futura Lt BT" panose="020B0402020204020303"/>
              </a:rPr>
              <a:t>                 Actual Labels</a:t>
            </a:r>
          </a:p>
          <a:p>
            <a:r>
              <a:rPr lang="en-US" sz="1200" dirty="0">
                <a:latin typeface="Futura Lt BT" panose="020B0402020204020303"/>
              </a:rPr>
              <a:t>Non-eligible(1)       Eligible(0)</a:t>
            </a:r>
            <a:endParaRPr lang="en-SG" sz="1200" dirty="0">
              <a:latin typeface="Futura Lt BT" panose="020B0402020204020303"/>
            </a:endParaRPr>
          </a:p>
        </p:txBody>
      </p:sp>
      <p:sp>
        <p:nvSpPr>
          <p:cNvPr id="32" name="TextBox 31"/>
          <p:cNvSpPr txBox="1"/>
          <p:nvPr/>
        </p:nvSpPr>
        <p:spPr>
          <a:xfrm rot="16200000">
            <a:off x="7866573" y="4791361"/>
            <a:ext cx="2197902" cy="461665"/>
          </a:xfrm>
          <a:prstGeom prst="rect">
            <a:avLst/>
          </a:prstGeom>
          <a:noFill/>
        </p:spPr>
        <p:txBody>
          <a:bodyPr wrap="square" rtlCol="0">
            <a:spAutoFit/>
          </a:bodyPr>
          <a:lstStyle/>
          <a:p>
            <a:r>
              <a:rPr lang="en-US" sz="1200" dirty="0">
                <a:latin typeface="Futura Lt BT" panose="020B0402020204020303"/>
              </a:rPr>
              <a:t>                 Actual Labels</a:t>
            </a:r>
          </a:p>
          <a:p>
            <a:r>
              <a:rPr lang="en-US" sz="1200" dirty="0">
                <a:latin typeface="Futura Lt BT" panose="020B0402020204020303"/>
              </a:rPr>
              <a:t>Non-eligible(1)       Eligible(0)</a:t>
            </a:r>
            <a:endParaRPr lang="en-SG" sz="1200" dirty="0">
              <a:latin typeface="Futura Lt BT" panose="020B0402020204020303"/>
            </a:endParaRPr>
          </a:p>
        </p:txBody>
      </p:sp>
    </p:spTree>
    <p:extLst>
      <p:ext uri="{BB962C8B-B14F-4D97-AF65-F5344CB8AC3E}">
        <p14:creationId xmlns:p14="http://schemas.microsoft.com/office/powerpoint/2010/main" val="40574953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511111" y="822960"/>
            <a:ext cx="7499033" cy="5412629"/>
          </a:xfrm>
          <a:prstGeom prst="rect">
            <a:avLst/>
          </a:prstGeom>
        </p:spPr>
      </p:pic>
      <p:sp>
        <p:nvSpPr>
          <p:cNvPr id="6" name="Title 2">
            <a:extLst>
              <a:ext uri="{FF2B5EF4-FFF2-40B4-BE49-F238E27FC236}">
                <a16:creationId xmlns:a16="http://schemas.microsoft.com/office/drawing/2014/main" id="{4B3DCF99-4807-2F21-1158-C2E750E92F00}"/>
              </a:ext>
            </a:extLst>
          </p:cNvPr>
          <p:cNvSpPr txBox="1">
            <a:spLocks/>
          </p:cNvSpPr>
          <p:nvPr/>
        </p:nvSpPr>
        <p:spPr>
          <a:xfrm>
            <a:off x="675125" y="246344"/>
            <a:ext cx="10569052" cy="453746"/>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3600" b="0" dirty="0">
                <a:solidFill>
                  <a:schemeClr val="tx1"/>
                </a:solidFill>
                <a:latin typeface="Berlin Sans FB" panose="020E0602020502020306" pitchFamily="34" charset="0"/>
                <a:cs typeface="Helvetica" panose="020B0604020202020204" pitchFamily="34" charset="0"/>
              </a:rPr>
              <a:t>Classification Report  </a:t>
            </a:r>
          </a:p>
        </p:txBody>
      </p:sp>
      <p:sp>
        <p:nvSpPr>
          <p:cNvPr id="7" name="TextBox 6">
            <a:extLst>
              <a:ext uri="{FF2B5EF4-FFF2-40B4-BE49-F238E27FC236}">
                <a16:creationId xmlns:a16="http://schemas.microsoft.com/office/drawing/2014/main" id="{953CF19D-CD94-8A8F-5A6B-58CFAEF9D613}"/>
              </a:ext>
            </a:extLst>
          </p:cNvPr>
          <p:cNvSpPr txBox="1"/>
          <p:nvPr/>
        </p:nvSpPr>
        <p:spPr>
          <a:xfrm>
            <a:off x="8202168" y="822960"/>
            <a:ext cx="3364992" cy="5478423"/>
          </a:xfrm>
          <a:prstGeom prst="rect">
            <a:avLst/>
          </a:prstGeom>
          <a:solidFill>
            <a:srgbClr val="EDEDED"/>
          </a:solidFill>
        </p:spPr>
        <p:txBody>
          <a:bodyPr wrap="square" rtlCol="0">
            <a:spAutoFit/>
          </a:bodyPr>
          <a:lstStyle/>
          <a:p>
            <a:pPr algn="ctr"/>
            <a:endParaRPr lang="en-US" sz="2000" dirty="0">
              <a:latin typeface="Berlin Sans FB" panose="020E0602020502020306" pitchFamily="34" charset="0"/>
              <a:cs typeface="Calibri" panose="020F0502020204030204" pitchFamily="34" charset="0"/>
            </a:endParaRPr>
          </a:p>
          <a:p>
            <a:pPr algn="ctr"/>
            <a:r>
              <a:rPr lang="en-US" sz="2000" dirty="0">
                <a:latin typeface="Berlin Sans FB" panose="020E0602020502020306" pitchFamily="34" charset="0"/>
                <a:cs typeface="Calibri" panose="020F0502020204030204" pitchFamily="34" charset="0"/>
              </a:rPr>
              <a:t>Selected Model </a:t>
            </a:r>
            <a:endParaRPr lang="en-US" sz="1800" dirty="0">
              <a:latin typeface="Futura Lt BT" panose="020B0402020204020303" pitchFamily="34" charset="0"/>
              <a:cs typeface="Calibri" panose="020F0502020204030204" pitchFamily="34" charset="0"/>
            </a:endParaRPr>
          </a:p>
          <a:p>
            <a:endParaRPr lang="en-US" sz="1800" dirty="0">
              <a:latin typeface="Futura Lt BT" panose="020B0402020204020303" pitchFamily="34" charset="0"/>
              <a:cs typeface="Calibri" panose="020F0502020204030204" pitchFamily="34" charset="0"/>
            </a:endParaRPr>
          </a:p>
          <a:p>
            <a:pPr marL="285750" indent="-285750">
              <a:buFont typeface="Wingdings" panose="05000000000000000000" pitchFamily="2" charset="2"/>
              <a:buChar char="ü"/>
            </a:pPr>
            <a:r>
              <a:rPr lang="en-US" sz="1600" dirty="0">
                <a:latin typeface="Futura Lt BT" panose="020B0402020204020303"/>
              </a:rPr>
              <a:t>As per accuracy, XGBoost was better classification model with 88.7%.</a:t>
            </a:r>
          </a:p>
          <a:p>
            <a:pPr marL="285750" indent="-285750">
              <a:buFont typeface="Wingdings" panose="05000000000000000000" pitchFamily="2" charset="2"/>
              <a:buChar char="ü"/>
            </a:pPr>
            <a:r>
              <a:rPr lang="en-US" sz="1600" dirty="0">
                <a:latin typeface="Futura Lt BT" panose="020B0402020204020303"/>
              </a:rPr>
              <a:t>We also found out that logistic regression was worst model as per the performance(with recall as 0) although accuracy was 88.23%</a:t>
            </a:r>
          </a:p>
          <a:p>
            <a:pPr marL="285750" indent="-285750">
              <a:buFont typeface="Wingdings" panose="05000000000000000000" pitchFamily="2" charset="2"/>
              <a:buChar char="ü"/>
            </a:pPr>
            <a:r>
              <a:rPr lang="en-US" sz="1600" dirty="0">
                <a:latin typeface="Futura Lt BT" panose="020B0402020204020303"/>
              </a:rPr>
              <a:t>On comparing other models, as per the performance matrix (like ROC curve &amp; AUC Score, Confusion Matrix and classification report such as recall, precision and F1 score), Random Forest Classifier gave better performance</a:t>
            </a:r>
            <a:endParaRPr lang="en-US" sz="1800" dirty="0">
              <a:latin typeface="Futura Lt BT" panose="020B0402020204020303" pitchFamily="34" charset="0"/>
              <a:cs typeface="Calibri" panose="020F0502020204030204" pitchFamily="34" charset="0"/>
            </a:endParaRPr>
          </a:p>
          <a:p>
            <a:pPr marL="285750" indent="-285750" algn="l">
              <a:buFont typeface="Wingdings" panose="05000000000000000000" pitchFamily="2" charset="2"/>
              <a:buChar char="ü"/>
            </a:pPr>
            <a:endParaRPr lang="en-US" sz="1800" dirty="0">
              <a:latin typeface="Futura Lt BT" panose="020B0402020204020303" pitchFamily="34" charset="0"/>
              <a:cs typeface="Calibri" panose="020F0502020204030204" pitchFamily="34" charset="0"/>
            </a:endParaRPr>
          </a:p>
          <a:p>
            <a:pPr marL="285750" indent="-285750" algn="l">
              <a:buFont typeface="Wingdings" panose="05000000000000000000" pitchFamily="2" charset="2"/>
              <a:buChar char="ü"/>
            </a:pPr>
            <a:endParaRPr lang="en-US" sz="1800" b="0" i="0" dirty="0">
              <a:effectLst/>
              <a:latin typeface="Futura Lt BT" panose="020B0402020204020303" pitchFamily="34" charset="0"/>
              <a:cs typeface="Calibri" panose="020F0502020204030204" pitchFamily="34" charset="0"/>
            </a:endParaRPr>
          </a:p>
        </p:txBody>
      </p:sp>
    </p:spTree>
    <p:extLst>
      <p:ext uri="{BB962C8B-B14F-4D97-AF65-F5344CB8AC3E}">
        <p14:creationId xmlns:p14="http://schemas.microsoft.com/office/powerpoint/2010/main" val="3888079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a:xfrm>
            <a:off x="656075" y="1376891"/>
            <a:ext cx="991139" cy="482111"/>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9" name="Rounded Rectangle 8"/>
          <p:cNvSpPr/>
          <p:nvPr/>
        </p:nvSpPr>
        <p:spPr>
          <a:xfrm>
            <a:off x="1203302" y="1290638"/>
            <a:ext cx="4346425" cy="807320"/>
          </a:xfrm>
          <a:prstGeom prst="roundRect">
            <a:avLst>
              <a:gd name="adj" fmla="val 4935"/>
            </a:avLst>
          </a:prstGeom>
          <a:solidFill>
            <a:srgbClr val="048CBC"/>
          </a:solidFill>
          <a:ln>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lIns="648000" rtlCol="0" anchor="ctr"/>
          <a:lstStyle/>
          <a:p>
            <a:pPr lvl="0">
              <a:spcAft>
                <a:spcPts val="700"/>
              </a:spcAft>
              <a:buClr>
                <a:schemeClr val="accent1"/>
              </a:buClr>
              <a:buSzPct val="100000"/>
            </a:pPr>
            <a:endParaRPr lang="en-US" b="1" dirty="0">
              <a:solidFill>
                <a:schemeClr val="accent6">
                  <a:lumMod val="25000"/>
                </a:schemeClr>
              </a:solidFill>
              <a:cs typeface="Calibri" pitchFamily="34" charset="0"/>
            </a:endParaRPr>
          </a:p>
          <a:p>
            <a:pPr lvl="0">
              <a:spcAft>
                <a:spcPts val="700"/>
              </a:spcAft>
              <a:buClr>
                <a:schemeClr val="accent1"/>
              </a:buClr>
              <a:buSzPct val="100000"/>
            </a:pPr>
            <a:r>
              <a:rPr lang="en-US" sz="1800" b="1" dirty="0" err="1">
                <a:solidFill>
                  <a:schemeClr val="bg1"/>
                </a:solidFill>
                <a:latin typeface="Futura Lt BT" panose="020B0402020204020303" pitchFamily="34" charset="0"/>
                <a:cs typeface="Calibri" panose="020F0502020204030204" pitchFamily="34" charset="0"/>
              </a:rPr>
              <a:t>Akansha</a:t>
            </a:r>
            <a:r>
              <a:rPr lang="en-US" sz="1800" b="1" dirty="0">
                <a:solidFill>
                  <a:schemeClr val="bg1"/>
                </a:solidFill>
                <a:latin typeface="Futura Lt BT" panose="020B0402020204020303" pitchFamily="34" charset="0"/>
                <a:cs typeface="Calibri" panose="020F0502020204030204" pitchFamily="34" charset="0"/>
              </a:rPr>
              <a:t> Sinha</a:t>
            </a:r>
          </a:p>
          <a:p>
            <a:pPr lvl="0">
              <a:spcAft>
                <a:spcPts val="700"/>
              </a:spcAft>
              <a:buClr>
                <a:schemeClr val="accent1"/>
              </a:buClr>
              <a:buSzPct val="100000"/>
            </a:pPr>
            <a:r>
              <a:rPr lang="en-US" dirty="0">
                <a:solidFill>
                  <a:schemeClr val="accent6">
                    <a:lumMod val="25000"/>
                  </a:schemeClr>
                </a:solidFill>
                <a:cs typeface="Calibri" panose="020F0502020204030204" pitchFamily="34" charset="0"/>
              </a:rPr>
              <a:t> </a:t>
            </a:r>
          </a:p>
        </p:txBody>
      </p:sp>
      <p:sp>
        <p:nvSpPr>
          <p:cNvPr id="10" name="Oval 9"/>
          <p:cNvSpPr/>
          <p:nvPr/>
        </p:nvSpPr>
        <p:spPr>
          <a:xfrm>
            <a:off x="854280" y="1558344"/>
            <a:ext cx="658092" cy="320110"/>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1" name="Oval 10"/>
          <p:cNvSpPr/>
          <p:nvPr/>
        </p:nvSpPr>
        <p:spPr>
          <a:xfrm>
            <a:off x="656075" y="2428854"/>
            <a:ext cx="991139" cy="482111"/>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12" name="Rounded Rectangle 11"/>
          <p:cNvSpPr/>
          <p:nvPr/>
        </p:nvSpPr>
        <p:spPr>
          <a:xfrm>
            <a:off x="1203302" y="2342601"/>
            <a:ext cx="4346425" cy="807320"/>
          </a:xfrm>
          <a:prstGeom prst="roundRect">
            <a:avLst>
              <a:gd name="adj" fmla="val 4935"/>
            </a:avLst>
          </a:prstGeom>
          <a:solidFill>
            <a:srgbClr val="048CBC"/>
          </a:soli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lvl="0">
              <a:spcAft>
                <a:spcPts val="700"/>
              </a:spcAft>
              <a:buClr>
                <a:schemeClr val="accent1"/>
              </a:buClr>
              <a:buSzPct val="100000"/>
            </a:pPr>
            <a:endParaRPr lang="en-US" b="1" dirty="0">
              <a:solidFill>
                <a:schemeClr val="accent6">
                  <a:lumMod val="25000"/>
                </a:schemeClr>
              </a:solidFill>
              <a:cs typeface="Calibri" pitchFamily="34" charset="0"/>
            </a:endParaRPr>
          </a:p>
          <a:p>
            <a:pPr lvl="0">
              <a:spcAft>
                <a:spcPts val="700"/>
              </a:spcAft>
              <a:buClr>
                <a:schemeClr val="accent1"/>
              </a:buClr>
              <a:buSzPct val="100000"/>
            </a:pPr>
            <a:r>
              <a:rPr lang="en-US" sz="1800" b="1" dirty="0">
                <a:solidFill>
                  <a:schemeClr val="bg1"/>
                </a:solidFill>
                <a:latin typeface="Futura Lt BT" panose="020B0402020204020303" pitchFamily="34" charset="0"/>
                <a:cs typeface="Calibri" pitchFamily="34" charset="0"/>
              </a:rPr>
              <a:t>Hrishikesh Bapat</a:t>
            </a:r>
          </a:p>
          <a:p>
            <a:pPr lvl="0">
              <a:spcAft>
                <a:spcPts val="700"/>
              </a:spcAft>
              <a:buClr>
                <a:schemeClr val="accent1"/>
              </a:buClr>
              <a:buSzPct val="100000"/>
            </a:pPr>
            <a:r>
              <a:rPr lang="en-US" dirty="0">
                <a:solidFill>
                  <a:schemeClr val="accent6">
                    <a:lumMod val="25000"/>
                  </a:schemeClr>
                </a:solidFill>
                <a:cs typeface="Calibri" pitchFamily="34" charset="0"/>
              </a:rPr>
              <a:t> </a:t>
            </a:r>
          </a:p>
        </p:txBody>
      </p:sp>
      <p:sp>
        <p:nvSpPr>
          <p:cNvPr id="13" name="Oval 12"/>
          <p:cNvSpPr/>
          <p:nvPr/>
        </p:nvSpPr>
        <p:spPr>
          <a:xfrm>
            <a:off x="854280" y="2610307"/>
            <a:ext cx="658092" cy="320110"/>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4" name="Oval 13"/>
          <p:cNvSpPr/>
          <p:nvPr/>
        </p:nvSpPr>
        <p:spPr>
          <a:xfrm>
            <a:off x="656075" y="3567908"/>
            <a:ext cx="991139" cy="482111"/>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15" name="Rounded Rectangle 14"/>
          <p:cNvSpPr/>
          <p:nvPr/>
        </p:nvSpPr>
        <p:spPr>
          <a:xfrm>
            <a:off x="1203302" y="3481655"/>
            <a:ext cx="4346425" cy="807320"/>
          </a:xfrm>
          <a:prstGeom prst="roundRect">
            <a:avLst>
              <a:gd name="adj" fmla="val 4935"/>
            </a:avLst>
          </a:prstGeom>
          <a:solidFill>
            <a:srgbClr val="048CBC"/>
          </a:soli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a:spcAft>
                <a:spcPts val="700"/>
              </a:spcAft>
              <a:buClr>
                <a:schemeClr val="accent1"/>
              </a:buClr>
              <a:buSzPct val="100000"/>
            </a:pPr>
            <a:r>
              <a:rPr lang="en-US" sz="1800" b="1" dirty="0">
                <a:solidFill>
                  <a:schemeClr val="bg1"/>
                </a:solidFill>
                <a:latin typeface="Futura Lt BT" panose="020B0402020204020303" pitchFamily="34" charset="0"/>
                <a:cs typeface="Calibri" pitchFamily="34" charset="0"/>
              </a:rPr>
              <a:t>Preeti </a:t>
            </a:r>
            <a:r>
              <a:rPr lang="en-US" sz="1800" b="1" dirty="0" err="1">
                <a:solidFill>
                  <a:schemeClr val="bg1"/>
                </a:solidFill>
                <a:latin typeface="Futura Lt BT" panose="020B0402020204020303" pitchFamily="34" charset="0"/>
                <a:cs typeface="Calibri" pitchFamily="34" charset="0"/>
              </a:rPr>
              <a:t>Asrani</a:t>
            </a:r>
            <a:endParaRPr lang="en-US" sz="1800" b="1" dirty="0">
              <a:solidFill>
                <a:schemeClr val="bg1"/>
              </a:solidFill>
              <a:latin typeface="Futura Lt BT" panose="020B0402020204020303" pitchFamily="34" charset="0"/>
              <a:cs typeface="Calibri" pitchFamily="34" charset="0"/>
            </a:endParaRPr>
          </a:p>
        </p:txBody>
      </p:sp>
      <p:sp>
        <p:nvSpPr>
          <p:cNvPr id="16" name="Oval 15"/>
          <p:cNvSpPr/>
          <p:nvPr/>
        </p:nvSpPr>
        <p:spPr>
          <a:xfrm>
            <a:off x="854280" y="3749361"/>
            <a:ext cx="658092" cy="320110"/>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7" name="Oval 16"/>
          <p:cNvSpPr/>
          <p:nvPr/>
        </p:nvSpPr>
        <p:spPr>
          <a:xfrm>
            <a:off x="6397011" y="1376891"/>
            <a:ext cx="1018694" cy="696130"/>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18" name="Rounded Rectangle 17"/>
          <p:cNvSpPr/>
          <p:nvPr/>
        </p:nvSpPr>
        <p:spPr>
          <a:xfrm>
            <a:off x="6944238" y="1290638"/>
            <a:ext cx="4346425" cy="807320"/>
          </a:xfrm>
          <a:prstGeom prst="roundRect">
            <a:avLst>
              <a:gd name="adj" fmla="val 4935"/>
            </a:avLst>
          </a:prstGeom>
          <a:solidFill>
            <a:srgbClr val="048CBC"/>
          </a:soli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lvl="0">
              <a:spcAft>
                <a:spcPts val="700"/>
              </a:spcAft>
              <a:buClr>
                <a:schemeClr val="accent1"/>
              </a:buClr>
              <a:buSzPct val="100000"/>
            </a:pPr>
            <a:endParaRPr lang="en-US" b="1" dirty="0">
              <a:solidFill>
                <a:schemeClr val="accent6">
                  <a:lumMod val="25000"/>
                </a:schemeClr>
              </a:solidFill>
              <a:cs typeface="Calibri" pitchFamily="34" charset="0"/>
            </a:endParaRPr>
          </a:p>
          <a:p>
            <a:pPr lvl="0">
              <a:spcAft>
                <a:spcPts val="700"/>
              </a:spcAft>
              <a:buClr>
                <a:schemeClr val="accent1"/>
              </a:buClr>
              <a:buSzPct val="100000"/>
            </a:pPr>
            <a:r>
              <a:rPr lang="en-US" sz="1800" b="1" dirty="0" err="1">
                <a:solidFill>
                  <a:schemeClr val="bg1"/>
                </a:solidFill>
                <a:latin typeface="Futura Lt BT" panose="020B0402020204020303" pitchFamily="34" charset="0"/>
                <a:cs typeface="Calibri" pitchFamily="34" charset="0"/>
              </a:rPr>
              <a:t>Brajesh</a:t>
            </a:r>
            <a:r>
              <a:rPr lang="en-US" sz="1800" b="1" dirty="0">
                <a:solidFill>
                  <a:schemeClr val="bg1"/>
                </a:solidFill>
                <a:latin typeface="Futura Lt BT" panose="020B0402020204020303" pitchFamily="34" charset="0"/>
                <a:cs typeface="Calibri" pitchFamily="34" charset="0"/>
              </a:rPr>
              <a:t> Kumar Verma</a:t>
            </a:r>
          </a:p>
          <a:p>
            <a:pPr lvl="0">
              <a:spcAft>
                <a:spcPts val="700"/>
              </a:spcAft>
              <a:buClr>
                <a:schemeClr val="accent1"/>
              </a:buClr>
              <a:buSzPct val="100000"/>
            </a:pPr>
            <a:r>
              <a:rPr lang="en-US" dirty="0">
                <a:solidFill>
                  <a:schemeClr val="accent6">
                    <a:lumMod val="25000"/>
                  </a:schemeClr>
                </a:solidFill>
                <a:cs typeface="Calibri" pitchFamily="34" charset="0"/>
              </a:rPr>
              <a:t> </a:t>
            </a:r>
          </a:p>
        </p:txBody>
      </p:sp>
      <p:sp>
        <p:nvSpPr>
          <p:cNvPr id="19" name="Oval 18"/>
          <p:cNvSpPr/>
          <p:nvPr/>
        </p:nvSpPr>
        <p:spPr>
          <a:xfrm>
            <a:off x="6595216" y="1558343"/>
            <a:ext cx="676388" cy="462213"/>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 name="Oval 19"/>
          <p:cNvSpPr/>
          <p:nvPr/>
        </p:nvSpPr>
        <p:spPr>
          <a:xfrm>
            <a:off x="6397011" y="2428854"/>
            <a:ext cx="1018694" cy="696130"/>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21" name="Rounded Rectangle 20"/>
          <p:cNvSpPr/>
          <p:nvPr/>
        </p:nvSpPr>
        <p:spPr>
          <a:xfrm>
            <a:off x="6944238" y="2342601"/>
            <a:ext cx="4346425" cy="807320"/>
          </a:xfrm>
          <a:prstGeom prst="roundRect">
            <a:avLst>
              <a:gd name="adj" fmla="val 4935"/>
            </a:avLst>
          </a:prstGeom>
          <a:solidFill>
            <a:srgbClr val="048CBC"/>
          </a:soli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lvl="0">
              <a:spcAft>
                <a:spcPts val="700"/>
              </a:spcAft>
              <a:buClr>
                <a:schemeClr val="accent1"/>
              </a:buClr>
              <a:buSzPct val="100000"/>
            </a:pPr>
            <a:endParaRPr lang="en-US" b="1" dirty="0">
              <a:solidFill>
                <a:schemeClr val="accent6">
                  <a:lumMod val="25000"/>
                </a:schemeClr>
              </a:solidFill>
              <a:cs typeface="Calibri" pitchFamily="34" charset="0"/>
            </a:endParaRPr>
          </a:p>
          <a:p>
            <a:pPr>
              <a:spcAft>
                <a:spcPts val="700"/>
              </a:spcAft>
              <a:buClr>
                <a:schemeClr val="accent1"/>
              </a:buClr>
              <a:buSzPct val="100000"/>
            </a:pPr>
            <a:r>
              <a:rPr lang="en-US" sz="1800" b="1" dirty="0" err="1">
                <a:solidFill>
                  <a:schemeClr val="bg1"/>
                </a:solidFill>
                <a:latin typeface="Futura Lt BT" panose="020B0402020204020303" pitchFamily="34" charset="0"/>
                <a:cs typeface="Calibri" pitchFamily="34" charset="0"/>
              </a:rPr>
              <a:t>Maneet</a:t>
            </a:r>
            <a:r>
              <a:rPr lang="en-US" sz="1800" b="1" dirty="0">
                <a:solidFill>
                  <a:schemeClr val="bg1"/>
                </a:solidFill>
                <a:latin typeface="Futura Lt BT" panose="020B0402020204020303" pitchFamily="34" charset="0"/>
                <a:cs typeface="Calibri" pitchFamily="34" charset="0"/>
              </a:rPr>
              <a:t> Singh </a:t>
            </a:r>
            <a:r>
              <a:rPr lang="en-US" sz="1800" b="1" dirty="0" err="1">
                <a:solidFill>
                  <a:schemeClr val="bg1"/>
                </a:solidFill>
                <a:latin typeface="Futura Lt BT" panose="020B0402020204020303" pitchFamily="34" charset="0"/>
                <a:cs typeface="Calibri" pitchFamily="34" charset="0"/>
              </a:rPr>
              <a:t>Saluja</a:t>
            </a:r>
            <a:endParaRPr lang="en-US" sz="1800" b="1" dirty="0">
              <a:solidFill>
                <a:schemeClr val="bg1"/>
              </a:solidFill>
              <a:latin typeface="Futura Lt BT" panose="020B0402020204020303" pitchFamily="34" charset="0"/>
              <a:cs typeface="Calibri" pitchFamily="34" charset="0"/>
            </a:endParaRPr>
          </a:p>
          <a:p>
            <a:pPr lvl="0">
              <a:spcAft>
                <a:spcPts val="700"/>
              </a:spcAft>
              <a:buClr>
                <a:schemeClr val="accent1"/>
              </a:buClr>
              <a:buSzPct val="100000"/>
            </a:pPr>
            <a:r>
              <a:rPr lang="en-US" dirty="0">
                <a:solidFill>
                  <a:schemeClr val="accent6">
                    <a:lumMod val="25000"/>
                  </a:schemeClr>
                </a:solidFill>
                <a:cs typeface="Calibri" pitchFamily="34" charset="0"/>
              </a:rPr>
              <a:t> </a:t>
            </a:r>
          </a:p>
        </p:txBody>
      </p:sp>
      <p:sp>
        <p:nvSpPr>
          <p:cNvPr id="22" name="Oval 21"/>
          <p:cNvSpPr/>
          <p:nvPr/>
        </p:nvSpPr>
        <p:spPr>
          <a:xfrm>
            <a:off x="6595216" y="2610306"/>
            <a:ext cx="676388" cy="462213"/>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 name="Oval 22"/>
          <p:cNvSpPr/>
          <p:nvPr/>
        </p:nvSpPr>
        <p:spPr>
          <a:xfrm>
            <a:off x="6397011" y="3567908"/>
            <a:ext cx="1018694" cy="696130"/>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24" name="Rounded Rectangle 23"/>
          <p:cNvSpPr/>
          <p:nvPr/>
        </p:nvSpPr>
        <p:spPr>
          <a:xfrm>
            <a:off x="6944238" y="3481655"/>
            <a:ext cx="4346425" cy="807320"/>
          </a:xfrm>
          <a:prstGeom prst="roundRect">
            <a:avLst>
              <a:gd name="adj" fmla="val 4935"/>
            </a:avLst>
          </a:prstGeom>
          <a:solidFill>
            <a:srgbClr val="048CBC"/>
          </a:soli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a:spcAft>
                <a:spcPts val="700"/>
              </a:spcAft>
              <a:buClr>
                <a:schemeClr val="accent1"/>
              </a:buClr>
              <a:buSzPct val="100000"/>
            </a:pPr>
            <a:endParaRPr lang="en-US" b="1" dirty="0">
              <a:solidFill>
                <a:schemeClr val="accent6">
                  <a:lumMod val="25000"/>
                </a:schemeClr>
              </a:solidFill>
              <a:cs typeface="Calibri" pitchFamily="34" charset="0"/>
            </a:endParaRPr>
          </a:p>
          <a:p>
            <a:pPr>
              <a:spcAft>
                <a:spcPts val="700"/>
              </a:spcAft>
              <a:buClr>
                <a:schemeClr val="accent1"/>
              </a:buClr>
              <a:buSzPct val="100000"/>
            </a:pPr>
            <a:r>
              <a:rPr lang="en-US" sz="1800" b="1" dirty="0" err="1">
                <a:solidFill>
                  <a:schemeClr val="bg1"/>
                </a:solidFill>
                <a:latin typeface="Futura Lt BT" panose="020B0402020204020303" pitchFamily="34" charset="0"/>
                <a:cs typeface="Calibri" pitchFamily="34" charset="0"/>
              </a:rPr>
              <a:t>Pritesh</a:t>
            </a:r>
            <a:r>
              <a:rPr lang="en-US" sz="1800" b="1" dirty="0">
                <a:solidFill>
                  <a:schemeClr val="bg1"/>
                </a:solidFill>
                <a:latin typeface="Futura Lt BT" panose="020B0402020204020303" pitchFamily="34" charset="0"/>
                <a:cs typeface="Calibri" pitchFamily="34" charset="0"/>
              </a:rPr>
              <a:t> Agarwal</a:t>
            </a:r>
          </a:p>
          <a:p>
            <a:pPr lvl="0">
              <a:spcAft>
                <a:spcPts val="700"/>
              </a:spcAft>
              <a:buClr>
                <a:schemeClr val="accent1"/>
              </a:buClr>
              <a:buSzPct val="100000"/>
            </a:pPr>
            <a:r>
              <a:rPr lang="en-US" dirty="0">
                <a:solidFill>
                  <a:schemeClr val="accent6">
                    <a:lumMod val="25000"/>
                  </a:schemeClr>
                </a:solidFill>
                <a:cs typeface="Calibri" pitchFamily="34" charset="0"/>
              </a:rPr>
              <a:t> </a:t>
            </a:r>
          </a:p>
        </p:txBody>
      </p:sp>
      <p:sp>
        <p:nvSpPr>
          <p:cNvPr id="25" name="Oval 24"/>
          <p:cNvSpPr/>
          <p:nvPr/>
        </p:nvSpPr>
        <p:spPr>
          <a:xfrm>
            <a:off x="6595216" y="3749360"/>
            <a:ext cx="676388" cy="462213"/>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6" name="Freeform 345"/>
          <p:cNvSpPr>
            <a:spLocks/>
          </p:cNvSpPr>
          <p:nvPr/>
        </p:nvSpPr>
        <p:spPr bwMode="auto">
          <a:xfrm>
            <a:off x="6918976" y="3112084"/>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346"/>
          <p:cNvSpPr>
            <a:spLocks noChangeArrowheads="1"/>
          </p:cNvSpPr>
          <p:nvPr/>
        </p:nvSpPr>
        <p:spPr bwMode="auto">
          <a:xfrm>
            <a:off x="6953399" y="2974393"/>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47"/>
          <p:cNvSpPr>
            <a:spLocks noEditPoints="1"/>
          </p:cNvSpPr>
          <p:nvPr/>
        </p:nvSpPr>
        <p:spPr bwMode="auto">
          <a:xfrm>
            <a:off x="6723913" y="2819489"/>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50"/>
          <p:cNvSpPr/>
          <p:nvPr/>
        </p:nvSpPr>
        <p:spPr>
          <a:xfrm>
            <a:off x="756221" y="4765333"/>
            <a:ext cx="991139" cy="482111"/>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52" name="Rounded Rectangle 51"/>
          <p:cNvSpPr/>
          <p:nvPr/>
        </p:nvSpPr>
        <p:spPr>
          <a:xfrm>
            <a:off x="1303448" y="4679080"/>
            <a:ext cx="4346425" cy="807320"/>
          </a:xfrm>
          <a:prstGeom prst="roundRect">
            <a:avLst>
              <a:gd name="adj" fmla="val 4935"/>
            </a:avLst>
          </a:prstGeom>
          <a:solidFill>
            <a:srgbClr val="048CBC"/>
          </a:soli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lvl="0">
              <a:spcAft>
                <a:spcPts val="700"/>
              </a:spcAft>
              <a:buClr>
                <a:schemeClr val="accent1"/>
              </a:buClr>
              <a:buSzPct val="100000"/>
            </a:pPr>
            <a:endParaRPr lang="en-US" sz="1800" b="1" dirty="0">
              <a:solidFill>
                <a:schemeClr val="bg1"/>
              </a:solidFill>
              <a:latin typeface="Futura Lt BT" panose="020B0402020204020303" pitchFamily="34" charset="0"/>
              <a:cs typeface="Calibri" pitchFamily="34" charset="0"/>
            </a:endParaRPr>
          </a:p>
          <a:p>
            <a:pPr lvl="0">
              <a:spcAft>
                <a:spcPts val="700"/>
              </a:spcAft>
              <a:buClr>
                <a:schemeClr val="accent1"/>
              </a:buClr>
              <a:buSzPct val="100000"/>
            </a:pPr>
            <a:r>
              <a:rPr lang="en-US" sz="1800" b="1" dirty="0" err="1">
                <a:solidFill>
                  <a:schemeClr val="bg1"/>
                </a:solidFill>
                <a:latin typeface="Futura Lt BT" panose="020B0402020204020303" pitchFamily="34" charset="0"/>
                <a:cs typeface="Calibri" pitchFamily="34" charset="0"/>
              </a:rPr>
              <a:t>Saibal</a:t>
            </a:r>
            <a:r>
              <a:rPr lang="en-US" sz="1800" b="1" dirty="0">
                <a:solidFill>
                  <a:schemeClr val="bg1"/>
                </a:solidFill>
                <a:latin typeface="Futura Lt BT" panose="020B0402020204020303" pitchFamily="34" charset="0"/>
                <a:cs typeface="Calibri" pitchFamily="34" charset="0"/>
              </a:rPr>
              <a:t> Ghosh</a:t>
            </a:r>
          </a:p>
          <a:p>
            <a:pPr lvl="0">
              <a:spcAft>
                <a:spcPts val="700"/>
              </a:spcAft>
              <a:buClr>
                <a:schemeClr val="accent1"/>
              </a:buClr>
              <a:buSzPct val="100000"/>
            </a:pPr>
            <a:r>
              <a:rPr lang="en-US" dirty="0">
                <a:solidFill>
                  <a:schemeClr val="accent6">
                    <a:lumMod val="25000"/>
                  </a:schemeClr>
                </a:solidFill>
                <a:cs typeface="Calibri" pitchFamily="34" charset="0"/>
              </a:rPr>
              <a:t> </a:t>
            </a:r>
          </a:p>
        </p:txBody>
      </p:sp>
      <p:sp>
        <p:nvSpPr>
          <p:cNvPr id="53" name="Oval 52"/>
          <p:cNvSpPr/>
          <p:nvPr/>
        </p:nvSpPr>
        <p:spPr>
          <a:xfrm>
            <a:off x="954426" y="4946786"/>
            <a:ext cx="658092" cy="320110"/>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54" name="Oval 53"/>
          <p:cNvSpPr/>
          <p:nvPr/>
        </p:nvSpPr>
        <p:spPr>
          <a:xfrm>
            <a:off x="6436194" y="4765333"/>
            <a:ext cx="1018694" cy="696130"/>
          </a:xfrm>
          <a:prstGeom prst="ellipse">
            <a:avLst/>
          </a:prstGeom>
          <a:solidFill>
            <a:schemeClr val="accent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chemeClr val="bg1"/>
              </a:solidFill>
              <a:latin typeface="Arial"/>
              <a:cs typeface="Arial"/>
            </a:endParaRPr>
          </a:p>
        </p:txBody>
      </p:sp>
      <p:sp>
        <p:nvSpPr>
          <p:cNvPr id="55" name="Rounded Rectangle 54"/>
          <p:cNvSpPr/>
          <p:nvPr/>
        </p:nvSpPr>
        <p:spPr>
          <a:xfrm>
            <a:off x="6983421" y="4679080"/>
            <a:ext cx="4346425" cy="807320"/>
          </a:xfrm>
          <a:prstGeom prst="roundRect">
            <a:avLst>
              <a:gd name="adj" fmla="val 4935"/>
            </a:avLst>
          </a:prstGeom>
          <a:solidFill>
            <a:srgbClr val="048CBC"/>
          </a:soli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a:spcAft>
                <a:spcPts val="700"/>
              </a:spcAft>
              <a:buClr>
                <a:schemeClr val="accent1"/>
              </a:buClr>
              <a:buSzPct val="100000"/>
            </a:pPr>
            <a:endParaRPr lang="en-US" sz="1800" b="1" dirty="0">
              <a:solidFill>
                <a:schemeClr val="bg1"/>
              </a:solidFill>
              <a:latin typeface="Futura Lt BT" panose="020B0402020204020303" pitchFamily="34" charset="0"/>
              <a:cs typeface="Calibri" pitchFamily="34" charset="0"/>
            </a:endParaRPr>
          </a:p>
          <a:p>
            <a:pPr>
              <a:spcAft>
                <a:spcPts val="700"/>
              </a:spcAft>
              <a:buClr>
                <a:schemeClr val="accent1"/>
              </a:buClr>
              <a:buSzPct val="100000"/>
            </a:pPr>
            <a:r>
              <a:rPr lang="en-US" sz="1800" b="1" dirty="0">
                <a:solidFill>
                  <a:schemeClr val="bg1"/>
                </a:solidFill>
                <a:latin typeface="Futura Lt BT" panose="020B0402020204020303" pitchFamily="34" charset="0"/>
                <a:cs typeface="Calibri" pitchFamily="34" charset="0"/>
              </a:rPr>
              <a:t>Tanu Khanna </a:t>
            </a:r>
            <a:r>
              <a:rPr lang="en-US" sz="1800" b="1" dirty="0" err="1">
                <a:solidFill>
                  <a:schemeClr val="bg1"/>
                </a:solidFill>
                <a:latin typeface="Futura Lt BT" panose="020B0402020204020303" pitchFamily="34" charset="0"/>
                <a:cs typeface="Calibri" pitchFamily="34" charset="0"/>
              </a:rPr>
              <a:t>Sood</a:t>
            </a:r>
            <a:endParaRPr lang="en-US" sz="1800" b="1" dirty="0">
              <a:solidFill>
                <a:schemeClr val="bg1"/>
              </a:solidFill>
              <a:latin typeface="Futura Lt BT" panose="020B0402020204020303" pitchFamily="34" charset="0"/>
              <a:cs typeface="Calibri" pitchFamily="34" charset="0"/>
            </a:endParaRPr>
          </a:p>
          <a:p>
            <a:pPr lvl="0">
              <a:spcAft>
                <a:spcPts val="700"/>
              </a:spcAft>
              <a:buClr>
                <a:schemeClr val="accent1"/>
              </a:buClr>
              <a:buSzPct val="100000"/>
            </a:pPr>
            <a:endParaRPr lang="en-US" sz="1800" b="1" dirty="0">
              <a:solidFill>
                <a:schemeClr val="bg1"/>
              </a:solidFill>
              <a:latin typeface="Futura Lt BT" panose="020B0402020204020303" pitchFamily="34" charset="0"/>
              <a:cs typeface="Calibri" pitchFamily="34" charset="0"/>
            </a:endParaRPr>
          </a:p>
        </p:txBody>
      </p:sp>
      <p:sp>
        <p:nvSpPr>
          <p:cNvPr id="56" name="Oval 55"/>
          <p:cNvSpPr/>
          <p:nvPr/>
        </p:nvSpPr>
        <p:spPr>
          <a:xfrm>
            <a:off x="6634399" y="4946785"/>
            <a:ext cx="676388" cy="462213"/>
          </a:xfrm>
          <a:prstGeom prst="ellipse">
            <a:avLst/>
          </a:prstGeom>
          <a:solidFill>
            <a:schemeClr val="bg1"/>
          </a:solidFill>
          <a:ln>
            <a:noFill/>
          </a:ln>
          <a:effectLst>
            <a:outerShdw blurRad="63500" sx="105000" sy="105000" algn="ctr" rotWithShape="0">
              <a:prstClr val="black">
                <a:alpha val="24000"/>
              </a:prstClr>
            </a:outerShdw>
          </a:effec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7" name="Freeform 345"/>
          <p:cNvSpPr>
            <a:spLocks/>
          </p:cNvSpPr>
          <p:nvPr/>
        </p:nvSpPr>
        <p:spPr bwMode="auto">
          <a:xfrm>
            <a:off x="6915901" y="4297630"/>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346"/>
          <p:cNvSpPr>
            <a:spLocks noChangeArrowheads="1"/>
          </p:cNvSpPr>
          <p:nvPr/>
        </p:nvSpPr>
        <p:spPr bwMode="auto">
          <a:xfrm>
            <a:off x="6950324" y="4159939"/>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347"/>
          <p:cNvSpPr>
            <a:spLocks noEditPoints="1"/>
          </p:cNvSpPr>
          <p:nvPr/>
        </p:nvSpPr>
        <p:spPr bwMode="auto">
          <a:xfrm>
            <a:off x="6720838" y="4005035"/>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45"/>
          <p:cNvSpPr>
            <a:spLocks/>
          </p:cNvSpPr>
          <p:nvPr/>
        </p:nvSpPr>
        <p:spPr bwMode="auto">
          <a:xfrm>
            <a:off x="6848581" y="5468025"/>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346"/>
          <p:cNvSpPr>
            <a:spLocks noChangeArrowheads="1"/>
          </p:cNvSpPr>
          <p:nvPr/>
        </p:nvSpPr>
        <p:spPr bwMode="auto">
          <a:xfrm>
            <a:off x="6883004" y="5330334"/>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47"/>
          <p:cNvSpPr>
            <a:spLocks noEditPoints="1"/>
          </p:cNvSpPr>
          <p:nvPr/>
        </p:nvSpPr>
        <p:spPr bwMode="auto">
          <a:xfrm>
            <a:off x="6653518" y="5175430"/>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345"/>
          <p:cNvSpPr>
            <a:spLocks/>
          </p:cNvSpPr>
          <p:nvPr/>
        </p:nvSpPr>
        <p:spPr bwMode="auto">
          <a:xfrm>
            <a:off x="1213806" y="5470486"/>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346"/>
          <p:cNvSpPr>
            <a:spLocks noChangeArrowheads="1"/>
          </p:cNvSpPr>
          <p:nvPr/>
        </p:nvSpPr>
        <p:spPr bwMode="auto">
          <a:xfrm>
            <a:off x="1248229" y="5332795"/>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47"/>
          <p:cNvSpPr>
            <a:spLocks noEditPoints="1"/>
          </p:cNvSpPr>
          <p:nvPr/>
        </p:nvSpPr>
        <p:spPr bwMode="auto">
          <a:xfrm>
            <a:off x="1018743" y="5177891"/>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45"/>
          <p:cNvSpPr>
            <a:spLocks/>
          </p:cNvSpPr>
          <p:nvPr/>
        </p:nvSpPr>
        <p:spPr bwMode="auto">
          <a:xfrm>
            <a:off x="1181830" y="4210669"/>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346"/>
          <p:cNvSpPr>
            <a:spLocks noChangeArrowheads="1"/>
          </p:cNvSpPr>
          <p:nvPr/>
        </p:nvSpPr>
        <p:spPr bwMode="auto">
          <a:xfrm>
            <a:off x="1216253" y="4072978"/>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47"/>
          <p:cNvSpPr>
            <a:spLocks noEditPoints="1"/>
          </p:cNvSpPr>
          <p:nvPr/>
        </p:nvSpPr>
        <p:spPr bwMode="auto">
          <a:xfrm>
            <a:off x="986767" y="3918074"/>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45"/>
          <p:cNvSpPr>
            <a:spLocks/>
          </p:cNvSpPr>
          <p:nvPr/>
        </p:nvSpPr>
        <p:spPr bwMode="auto">
          <a:xfrm>
            <a:off x="1220163" y="3052843"/>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346"/>
          <p:cNvSpPr>
            <a:spLocks noChangeArrowheads="1"/>
          </p:cNvSpPr>
          <p:nvPr/>
        </p:nvSpPr>
        <p:spPr bwMode="auto">
          <a:xfrm>
            <a:off x="1254586" y="2915152"/>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47"/>
          <p:cNvSpPr>
            <a:spLocks noEditPoints="1"/>
          </p:cNvSpPr>
          <p:nvPr/>
        </p:nvSpPr>
        <p:spPr bwMode="auto">
          <a:xfrm>
            <a:off x="1025100" y="2760248"/>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45"/>
          <p:cNvSpPr>
            <a:spLocks/>
          </p:cNvSpPr>
          <p:nvPr/>
        </p:nvSpPr>
        <p:spPr bwMode="auto">
          <a:xfrm>
            <a:off x="1191460" y="2035391"/>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346"/>
          <p:cNvSpPr>
            <a:spLocks noChangeArrowheads="1"/>
          </p:cNvSpPr>
          <p:nvPr/>
        </p:nvSpPr>
        <p:spPr bwMode="auto">
          <a:xfrm>
            <a:off x="1225883" y="1897700"/>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47"/>
          <p:cNvSpPr>
            <a:spLocks noEditPoints="1"/>
          </p:cNvSpPr>
          <p:nvPr/>
        </p:nvSpPr>
        <p:spPr bwMode="auto">
          <a:xfrm>
            <a:off x="996397" y="1742796"/>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45"/>
          <p:cNvSpPr>
            <a:spLocks/>
          </p:cNvSpPr>
          <p:nvPr/>
        </p:nvSpPr>
        <p:spPr bwMode="auto">
          <a:xfrm>
            <a:off x="6915901" y="2124910"/>
            <a:ext cx="160640" cy="63109"/>
          </a:xfrm>
          <a:custGeom>
            <a:avLst/>
            <a:gdLst>
              <a:gd name="T0" fmla="*/ 753 w 753"/>
              <a:gd name="T1" fmla="*/ 296 h 296"/>
              <a:gd name="T2" fmla="*/ 753 w 753"/>
              <a:gd name="T3" fmla="*/ 156 h 296"/>
              <a:gd name="T4" fmla="*/ 596 w 753"/>
              <a:gd name="T5" fmla="*/ 0 h 296"/>
              <a:gd name="T6" fmla="*/ 157 w 753"/>
              <a:gd name="T7" fmla="*/ 0 h 296"/>
              <a:gd name="T8" fmla="*/ 0 w 753"/>
              <a:gd name="T9" fmla="*/ 156 h 296"/>
              <a:gd name="T10" fmla="*/ 0 w 753"/>
              <a:gd name="T11" fmla="*/ 296 h 296"/>
            </a:gdLst>
            <a:ahLst/>
            <a:cxnLst>
              <a:cxn ang="0">
                <a:pos x="T0" y="T1"/>
              </a:cxn>
              <a:cxn ang="0">
                <a:pos x="T2" y="T3"/>
              </a:cxn>
              <a:cxn ang="0">
                <a:pos x="T4" y="T5"/>
              </a:cxn>
              <a:cxn ang="0">
                <a:pos x="T6" y="T7"/>
              </a:cxn>
              <a:cxn ang="0">
                <a:pos x="T8" y="T9"/>
              </a:cxn>
              <a:cxn ang="0">
                <a:pos x="T10" y="T11"/>
              </a:cxn>
            </a:cxnLst>
            <a:rect l="0" t="0" r="r" b="b"/>
            <a:pathLst>
              <a:path w="753" h="296">
                <a:moveTo>
                  <a:pt x="753" y="296"/>
                </a:moveTo>
                <a:cubicBezTo>
                  <a:pt x="753" y="156"/>
                  <a:pt x="753" y="156"/>
                  <a:pt x="753" y="156"/>
                </a:cubicBezTo>
                <a:cubicBezTo>
                  <a:pt x="753" y="71"/>
                  <a:pt x="682" y="0"/>
                  <a:pt x="596" y="0"/>
                </a:cubicBezTo>
                <a:cubicBezTo>
                  <a:pt x="157" y="0"/>
                  <a:pt x="157" y="0"/>
                  <a:pt x="157" y="0"/>
                </a:cubicBezTo>
                <a:cubicBezTo>
                  <a:pt x="71" y="0"/>
                  <a:pt x="0" y="71"/>
                  <a:pt x="0" y="156"/>
                </a:cubicBezTo>
                <a:cubicBezTo>
                  <a:pt x="0" y="296"/>
                  <a:pt x="0" y="296"/>
                  <a:pt x="0" y="296"/>
                </a:cubicBezTo>
              </a:path>
            </a:pathLst>
          </a:cu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346"/>
          <p:cNvSpPr>
            <a:spLocks noChangeArrowheads="1"/>
          </p:cNvSpPr>
          <p:nvPr/>
        </p:nvSpPr>
        <p:spPr bwMode="auto">
          <a:xfrm>
            <a:off x="6950324" y="1987219"/>
            <a:ext cx="91794" cy="91794"/>
          </a:xfrm>
          <a:prstGeom prst="ellipse">
            <a:avLst/>
          </a:prstGeom>
          <a:solidFill>
            <a:srgbClr val="F8BF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47"/>
          <p:cNvSpPr>
            <a:spLocks noEditPoints="1"/>
          </p:cNvSpPr>
          <p:nvPr/>
        </p:nvSpPr>
        <p:spPr bwMode="auto">
          <a:xfrm>
            <a:off x="6720838" y="1832315"/>
            <a:ext cx="550766" cy="413075"/>
          </a:xfrm>
          <a:custGeom>
            <a:avLst/>
            <a:gdLst>
              <a:gd name="T0" fmla="*/ 2339 w 2581"/>
              <a:gd name="T1" fmla="*/ 457 h 1936"/>
              <a:gd name="T2" fmla="*/ 242 w 2581"/>
              <a:gd name="T3" fmla="*/ 565 h 1936"/>
              <a:gd name="T4" fmla="*/ 242 w 2581"/>
              <a:gd name="T5" fmla="*/ 296 h 1936"/>
              <a:gd name="T6" fmla="*/ 380 w 2581"/>
              <a:gd name="T7" fmla="*/ 239 h 1936"/>
              <a:gd name="T8" fmla="*/ 380 w 2581"/>
              <a:gd name="T9" fmla="*/ 353 h 1936"/>
              <a:gd name="T10" fmla="*/ 242 w 2581"/>
              <a:gd name="T11" fmla="*/ 296 h 1936"/>
              <a:gd name="T12" fmla="*/ 323 w 2581"/>
              <a:gd name="T13" fmla="*/ 296 h 1936"/>
              <a:gd name="T14" fmla="*/ 304 w 2581"/>
              <a:gd name="T15" fmla="*/ 315 h 1936"/>
              <a:gd name="T16" fmla="*/ 323 w 2581"/>
              <a:gd name="T17" fmla="*/ 296 h 1936"/>
              <a:gd name="T18" fmla="*/ 350 w 2581"/>
              <a:gd name="T19" fmla="*/ 296 h 1936"/>
              <a:gd name="T20" fmla="*/ 323 w 2581"/>
              <a:gd name="T21" fmla="*/ 296 h 1936"/>
              <a:gd name="T22" fmla="*/ 323 w 2581"/>
              <a:gd name="T23" fmla="*/ 296 h 1936"/>
              <a:gd name="T24" fmla="*/ 323 w 2581"/>
              <a:gd name="T25" fmla="*/ 296 h 1936"/>
              <a:gd name="T26" fmla="*/ 511 w 2581"/>
              <a:gd name="T27" fmla="*/ 296 h 1936"/>
              <a:gd name="T28" fmla="*/ 649 w 2581"/>
              <a:gd name="T29" fmla="*/ 239 h 1936"/>
              <a:gd name="T30" fmla="*/ 649 w 2581"/>
              <a:gd name="T31" fmla="*/ 353 h 1936"/>
              <a:gd name="T32" fmla="*/ 511 w 2581"/>
              <a:gd name="T33" fmla="*/ 296 h 1936"/>
              <a:gd name="T34" fmla="*/ 591 w 2581"/>
              <a:gd name="T35" fmla="*/ 296 h 1936"/>
              <a:gd name="T36" fmla="*/ 572 w 2581"/>
              <a:gd name="T37" fmla="*/ 315 h 1936"/>
              <a:gd name="T38" fmla="*/ 592 w 2581"/>
              <a:gd name="T39" fmla="*/ 296 h 1936"/>
              <a:gd name="T40" fmla="*/ 618 w 2581"/>
              <a:gd name="T41" fmla="*/ 296 h 1936"/>
              <a:gd name="T42" fmla="*/ 592 w 2581"/>
              <a:gd name="T43" fmla="*/ 269 h 1936"/>
              <a:gd name="T44" fmla="*/ 592 w 2581"/>
              <a:gd name="T45" fmla="*/ 296 h 1936"/>
              <a:gd name="T46" fmla="*/ 591 w 2581"/>
              <a:gd name="T47" fmla="*/ 296 h 1936"/>
              <a:gd name="T48" fmla="*/ 572 w 2581"/>
              <a:gd name="T49" fmla="*/ 277 h 1936"/>
              <a:gd name="T50" fmla="*/ 780 w 2581"/>
              <a:gd name="T51" fmla="*/ 296 h 1936"/>
              <a:gd name="T52" fmla="*/ 917 w 2581"/>
              <a:gd name="T53" fmla="*/ 239 h 1936"/>
              <a:gd name="T54" fmla="*/ 917 w 2581"/>
              <a:gd name="T55" fmla="*/ 353 h 1936"/>
              <a:gd name="T56" fmla="*/ 780 w 2581"/>
              <a:gd name="T57" fmla="*/ 296 h 1936"/>
              <a:gd name="T58" fmla="*/ 860 w 2581"/>
              <a:gd name="T59" fmla="*/ 296 h 1936"/>
              <a:gd name="T60" fmla="*/ 841 w 2581"/>
              <a:gd name="T61" fmla="*/ 315 h 1936"/>
              <a:gd name="T62" fmla="*/ 860 w 2581"/>
              <a:gd name="T63" fmla="*/ 296 h 1936"/>
              <a:gd name="T64" fmla="*/ 887 w 2581"/>
              <a:gd name="T65" fmla="*/ 296 h 1936"/>
              <a:gd name="T66" fmla="*/ 860 w 2581"/>
              <a:gd name="T67" fmla="*/ 296 h 1936"/>
              <a:gd name="T68" fmla="*/ 860 w 2581"/>
              <a:gd name="T69" fmla="*/ 269 h 1936"/>
              <a:gd name="T70" fmla="*/ 860 w 2581"/>
              <a:gd name="T71" fmla="*/ 296 h 1936"/>
              <a:gd name="T72" fmla="*/ 860 w 2581"/>
              <a:gd name="T73" fmla="*/ 296 h 1936"/>
              <a:gd name="T74" fmla="*/ 860 w 2581"/>
              <a:gd name="T75" fmla="*/ 296 h 1936"/>
              <a:gd name="T76" fmla="*/ 2581 w 2581"/>
              <a:gd name="T77" fmla="*/ 192 h 1936"/>
              <a:gd name="T78" fmla="*/ 2390 w 2581"/>
              <a:gd name="T79" fmla="*/ 1936 h 1936"/>
              <a:gd name="T80" fmla="*/ 0 w 2581"/>
              <a:gd name="T81" fmla="*/ 1744 h 1936"/>
              <a:gd name="T82" fmla="*/ 191 w 2581"/>
              <a:gd name="T83" fmla="*/ 0 h 1936"/>
              <a:gd name="T84" fmla="*/ 2581 w 2581"/>
              <a:gd name="T85" fmla="*/ 192 h 1936"/>
              <a:gd name="T86" fmla="*/ 2390 w 2581"/>
              <a:gd name="T87" fmla="*/ 108 h 1936"/>
              <a:gd name="T88" fmla="*/ 108 w 2581"/>
              <a:gd name="T89" fmla="*/ 192 h 1936"/>
              <a:gd name="T90" fmla="*/ 191 w 2581"/>
              <a:gd name="T91" fmla="*/ 1828 h 1936"/>
              <a:gd name="T92" fmla="*/ 2473 w 2581"/>
              <a:gd name="T93" fmla="*/ 1744 h 1936"/>
              <a:gd name="T94" fmla="*/ 1510 w 2581"/>
              <a:gd name="T95" fmla="*/ 1317 h 1936"/>
              <a:gd name="T96" fmla="*/ 860 w 2581"/>
              <a:gd name="T97" fmla="*/ 1527 h 1936"/>
              <a:gd name="T98" fmla="*/ 914 w 2581"/>
              <a:gd name="T99" fmla="*/ 1721 h 1936"/>
              <a:gd name="T100" fmla="*/ 968 w 2581"/>
              <a:gd name="T101" fmla="*/ 1527 h 1936"/>
              <a:gd name="T102" fmla="*/ 1510 w 2581"/>
              <a:gd name="T103" fmla="*/ 1425 h 1936"/>
              <a:gd name="T104" fmla="*/ 1613 w 2581"/>
              <a:gd name="T105" fmla="*/ 1667 h 1936"/>
              <a:gd name="T106" fmla="*/ 1721 w 2581"/>
              <a:gd name="T107" fmla="*/ 1667 h 1936"/>
              <a:gd name="T108" fmla="*/ 1510 w 2581"/>
              <a:gd name="T109" fmla="*/ 1317 h 1936"/>
              <a:gd name="T110" fmla="*/ 1291 w 2581"/>
              <a:gd name="T111" fmla="*/ 672 h 1936"/>
              <a:gd name="T112" fmla="*/ 1291 w 2581"/>
              <a:gd name="T113" fmla="*/ 1210 h 1936"/>
              <a:gd name="T114" fmla="*/ 1129 w 2581"/>
              <a:gd name="T115" fmla="*/ 941 h 1936"/>
              <a:gd name="T116" fmla="*/ 1452 w 2581"/>
              <a:gd name="T117" fmla="*/ 941 h 1936"/>
              <a:gd name="T118" fmla="*/ 1129 w 2581"/>
              <a:gd name="T119" fmla="*/ 941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1" h="1936">
                <a:moveTo>
                  <a:pt x="242" y="457"/>
                </a:moveTo>
                <a:cubicBezTo>
                  <a:pt x="2339" y="457"/>
                  <a:pt x="2339" y="457"/>
                  <a:pt x="2339" y="457"/>
                </a:cubicBezTo>
                <a:cubicBezTo>
                  <a:pt x="2339" y="565"/>
                  <a:pt x="2339" y="565"/>
                  <a:pt x="2339" y="565"/>
                </a:cubicBezTo>
                <a:cubicBezTo>
                  <a:pt x="242" y="565"/>
                  <a:pt x="242" y="565"/>
                  <a:pt x="242" y="565"/>
                </a:cubicBezTo>
                <a:lnTo>
                  <a:pt x="242" y="457"/>
                </a:lnTo>
                <a:close/>
                <a:moveTo>
                  <a:pt x="242" y="296"/>
                </a:moveTo>
                <a:cubicBezTo>
                  <a:pt x="242" y="251"/>
                  <a:pt x="278" y="215"/>
                  <a:pt x="323" y="215"/>
                </a:cubicBezTo>
                <a:cubicBezTo>
                  <a:pt x="345" y="215"/>
                  <a:pt x="366" y="224"/>
                  <a:pt x="380" y="239"/>
                </a:cubicBezTo>
                <a:cubicBezTo>
                  <a:pt x="395" y="254"/>
                  <a:pt x="404" y="274"/>
                  <a:pt x="404" y="296"/>
                </a:cubicBezTo>
                <a:cubicBezTo>
                  <a:pt x="404" y="318"/>
                  <a:pt x="395" y="338"/>
                  <a:pt x="380" y="353"/>
                </a:cubicBezTo>
                <a:cubicBezTo>
                  <a:pt x="366" y="368"/>
                  <a:pt x="345" y="377"/>
                  <a:pt x="323" y="377"/>
                </a:cubicBezTo>
                <a:cubicBezTo>
                  <a:pt x="278" y="377"/>
                  <a:pt x="242" y="341"/>
                  <a:pt x="242" y="296"/>
                </a:cubicBezTo>
                <a:close/>
                <a:moveTo>
                  <a:pt x="304" y="315"/>
                </a:moveTo>
                <a:cubicBezTo>
                  <a:pt x="323" y="296"/>
                  <a:pt x="323" y="296"/>
                  <a:pt x="323" y="296"/>
                </a:cubicBezTo>
                <a:cubicBezTo>
                  <a:pt x="323" y="296"/>
                  <a:pt x="323" y="296"/>
                  <a:pt x="323" y="296"/>
                </a:cubicBezTo>
                <a:lnTo>
                  <a:pt x="304" y="315"/>
                </a:lnTo>
                <a:close/>
                <a:moveTo>
                  <a:pt x="350" y="296"/>
                </a:moveTo>
                <a:cubicBezTo>
                  <a:pt x="323" y="296"/>
                  <a:pt x="323" y="296"/>
                  <a:pt x="323" y="296"/>
                </a:cubicBezTo>
                <a:cubicBezTo>
                  <a:pt x="323" y="296"/>
                  <a:pt x="323" y="296"/>
                  <a:pt x="323" y="296"/>
                </a:cubicBezTo>
                <a:cubicBezTo>
                  <a:pt x="350" y="296"/>
                  <a:pt x="350" y="296"/>
                  <a:pt x="350" y="296"/>
                </a:cubicBezTo>
                <a:close/>
                <a:moveTo>
                  <a:pt x="304" y="277"/>
                </a:moveTo>
                <a:cubicBezTo>
                  <a:pt x="323" y="296"/>
                  <a:pt x="323" y="296"/>
                  <a:pt x="323" y="296"/>
                </a:cubicBezTo>
                <a:cubicBezTo>
                  <a:pt x="323" y="296"/>
                  <a:pt x="323" y="296"/>
                  <a:pt x="323" y="296"/>
                </a:cubicBezTo>
                <a:cubicBezTo>
                  <a:pt x="323" y="296"/>
                  <a:pt x="323" y="296"/>
                  <a:pt x="323" y="296"/>
                </a:cubicBezTo>
                <a:cubicBezTo>
                  <a:pt x="323" y="296"/>
                  <a:pt x="323" y="296"/>
                  <a:pt x="323" y="296"/>
                </a:cubicBezTo>
                <a:cubicBezTo>
                  <a:pt x="323" y="296"/>
                  <a:pt x="323" y="296"/>
                  <a:pt x="323" y="296"/>
                </a:cubicBezTo>
                <a:lnTo>
                  <a:pt x="304" y="277"/>
                </a:lnTo>
                <a:close/>
                <a:moveTo>
                  <a:pt x="511" y="296"/>
                </a:moveTo>
                <a:cubicBezTo>
                  <a:pt x="511" y="251"/>
                  <a:pt x="547" y="215"/>
                  <a:pt x="592" y="215"/>
                </a:cubicBezTo>
                <a:cubicBezTo>
                  <a:pt x="614" y="215"/>
                  <a:pt x="634" y="224"/>
                  <a:pt x="649" y="239"/>
                </a:cubicBezTo>
                <a:cubicBezTo>
                  <a:pt x="663" y="254"/>
                  <a:pt x="672" y="274"/>
                  <a:pt x="672" y="296"/>
                </a:cubicBezTo>
                <a:cubicBezTo>
                  <a:pt x="672" y="318"/>
                  <a:pt x="663" y="338"/>
                  <a:pt x="649" y="353"/>
                </a:cubicBezTo>
                <a:cubicBezTo>
                  <a:pt x="634" y="368"/>
                  <a:pt x="614" y="377"/>
                  <a:pt x="592" y="377"/>
                </a:cubicBezTo>
                <a:cubicBezTo>
                  <a:pt x="547" y="377"/>
                  <a:pt x="511" y="341"/>
                  <a:pt x="511" y="296"/>
                </a:cubicBezTo>
                <a:close/>
                <a:moveTo>
                  <a:pt x="572" y="315"/>
                </a:moveTo>
                <a:cubicBezTo>
                  <a:pt x="591" y="296"/>
                  <a:pt x="591" y="296"/>
                  <a:pt x="591" y="296"/>
                </a:cubicBezTo>
                <a:cubicBezTo>
                  <a:pt x="591" y="296"/>
                  <a:pt x="591" y="296"/>
                  <a:pt x="591" y="296"/>
                </a:cubicBezTo>
                <a:lnTo>
                  <a:pt x="572" y="315"/>
                </a:lnTo>
                <a:close/>
                <a:moveTo>
                  <a:pt x="619" y="296"/>
                </a:moveTo>
                <a:cubicBezTo>
                  <a:pt x="592" y="296"/>
                  <a:pt x="592" y="296"/>
                  <a:pt x="592" y="296"/>
                </a:cubicBezTo>
                <a:cubicBezTo>
                  <a:pt x="592" y="296"/>
                  <a:pt x="592" y="296"/>
                  <a:pt x="592" y="296"/>
                </a:cubicBezTo>
                <a:cubicBezTo>
                  <a:pt x="618" y="296"/>
                  <a:pt x="618" y="296"/>
                  <a:pt x="618" y="296"/>
                </a:cubicBezTo>
                <a:lnTo>
                  <a:pt x="619" y="296"/>
                </a:lnTo>
                <a:close/>
                <a:moveTo>
                  <a:pt x="592" y="269"/>
                </a:moveTo>
                <a:cubicBezTo>
                  <a:pt x="592" y="296"/>
                  <a:pt x="592" y="296"/>
                  <a:pt x="592" y="296"/>
                </a:cubicBezTo>
                <a:cubicBezTo>
                  <a:pt x="592" y="296"/>
                  <a:pt x="592" y="296"/>
                  <a:pt x="592" y="296"/>
                </a:cubicBezTo>
                <a:lnTo>
                  <a:pt x="592" y="269"/>
                </a:lnTo>
                <a:close/>
                <a:moveTo>
                  <a:pt x="591" y="296"/>
                </a:moveTo>
                <a:cubicBezTo>
                  <a:pt x="591" y="296"/>
                  <a:pt x="591" y="296"/>
                  <a:pt x="591" y="296"/>
                </a:cubicBezTo>
                <a:cubicBezTo>
                  <a:pt x="572" y="277"/>
                  <a:pt x="572" y="277"/>
                  <a:pt x="572" y="277"/>
                </a:cubicBezTo>
                <a:lnTo>
                  <a:pt x="591" y="296"/>
                </a:lnTo>
                <a:close/>
                <a:moveTo>
                  <a:pt x="780" y="296"/>
                </a:moveTo>
                <a:cubicBezTo>
                  <a:pt x="780" y="251"/>
                  <a:pt x="816" y="215"/>
                  <a:pt x="860" y="215"/>
                </a:cubicBezTo>
                <a:cubicBezTo>
                  <a:pt x="882" y="215"/>
                  <a:pt x="903" y="225"/>
                  <a:pt x="917" y="239"/>
                </a:cubicBezTo>
                <a:cubicBezTo>
                  <a:pt x="932" y="254"/>
                  <a:pt x="941" y="274"/>
                  <a:pt x="941" y="296"/>
                </a:cubicBezTo>
                <a:cubicBezTo>
                  <a:pt x="941" y="318"/>
                  <a:pt x="932" y="338"/>
                  <a:pt x="917" y="353"/>
                </a:cubicBezTo>
                <a:cubicBezTo>
                  <a:pt x="903" y="368"/>
                  <a:pt x="882" y="377"/>
                  <a:pt x="860" y="377"/>
                </a:cubicBezTo>
                <a:cubicBezTo>
                  <a:pt x="816" y="377"/>
                  <a:pt x="780" y="341"/>
                  <a:pt x="780" y="296"/>
                </a:cubicBezTo>
                <a:close/>
                <a:moveTo>
                  <a:pt x="841" y="315"/>
                </a:moveTo>
                <a:cubicBezTo>
                  <a:pt x="860" y="296"/>
                  <a:pt x="860" y="296"/>
                  <a:pt x="860" y="296"/>
                </a:cubicBezTo>
                <a:cubicBezTo>
                  <a:pt x="860" y="296"/>
                  <a:pt x="860" y="296"/>
                  <a:pt x="860" y="296"/>
                </a:cubicBezTo>
                <a:lnTo>
                  <a:pt x="841" y="315"/>
                </a:lnTo>
                <a:close/>
                <a:moveTo>
                  <a:pt x="887" y="296"/>
                </a:moveTo>
                <a:cubicBezTo>
                  <a:pt x="860" y="296"/>
                  <a:pt x="860" y="296"/>
                  <a:pt x="860" y="296"/>
                </a:cubicBezTo>
                <a:cubicBezTo>
                  <a:pt x="860" y="296"/>
                  <a:pt x="860" y="296"/>
                  <a:pt x="860" y="296"/>
                </a:cubicBezTo>
                <a:cubicBezTo>
                  <a:pt x="887" y="296"/>
                  <a:pt x="887" y="296"/>
                  <a:pt x="887" y="296"/>
                </a:cubicBezTo>
                <a:close/>
                <a:moveTo>
                  <a:pt x="860" y="269"/>
                </a:moveTo>
                <a:cubicBezTo>
                  <a:pt x="860" y="296"/>
                  <a:pt x="860" y="296"/>
                  <a:pt x="860" y="296"/>
                </a:cubicBezTo>
                <a:cubicBezTo>
                  <a:pt x="860" y="296"/>
                  <a:pt x="860" y="296"/>
                  <a:pt x="860" y="296"/>
                </a:cubicBezTo>
                <a:lnTo>
                  <a:pt x="860" y="269"/>
                </a:lnTo>
                <a:close/>
                <a:moveTo>
                  <a:pt x="841" y="277"/>
                </a:moveTo>
                <a:cubicBezTo>
                  <a:pt x="860" y="296"/>
                  <a:pt x="860" y="296"/>
                  <a:pt x="860" y="296"/>
                </a:cubicBezTo>
                <a:cubicBezTo>
                  <a:pt x="860" y="296"/>
                  <a:pt x="860" y="296"/>
                  <a:pt x="860" y="296"/>
                </a:cubicBezTo>
                <a:cubicBezTo>
                  <a:pt x="860" y="296"/>
                  <a:pt x="860" y="296"/>
                  <a:pt x="860" y="296"/>
                </a:cubicBezTo>
                <a:cubicBezTo>
                  <a:pt x="860" y="296"/>
                  <a:pt x="860" y="296"/>
                  <a:pt x="860" y="296"/>
                </a:cubicBezTo>
                <a:cubicBezTo>
                  <a:pt x="860" y="296"/>
                  <a:pt x="860" y="296"/>
                  <a:pt x="860" y="296"/>
                </a:cubicBezTo>
                <a:lnTo>
                  <a:pt x="841" y="277"/>
                </a:lnTo>
                <a:close/>
                <a:moveTo>
                  <a:pt x="2581" y="192"/>
                </a:moveTo>
                <a:cubicBezTo>
                  <a:pt x="2581" y="1744"/>
                  <a:pt x="2581" y="1744"/>
                  <a:pt x="2581" y="1744"/>
                </a:cubicBezTo>
                <a:cubicBezTo>
                  <a:pt x="2581" y="1850"/>
                  <a:pt x="2495" y="1936"/>
                  <a:pt x="2390" y="1936"/>
                </a:cubicBezTo>
                <a:cubicBezTo>
                  <a:pt x="191" y="1936"/>
                  <a:pt x="191" y="1936"/>
                  <a:pt x="191" y="1936"/>
                </a:cubicBezTo>
                <a:cubicBezTo>
                  <a:pt x="86" y="1936"/>
                  <a:pt x="0" y="1850"/>
                  <a:pt x="0" y="1744"/>
                </a:cubicBezTo>
                <a:cubicBezTo>
                  <a:pt x="0" y="192"/>
                  <a:pt x="0" y="192"/>
                  <a:pt x="0" y="192"/>
                </a:cubicBezTo>
                <a:cubicBezTo>
                  <a:pt x="0" y="86"/>
                  <a:pt x="86" y="0"/>
                  <a:pt x="191" y="0"/>
                </a:cubicBezTo>
                <a:cubicBezTo>
                  <a:pt x="2390" y="0"/>
                  <a:pt x="2390" y="0"/>
                  <a:pt x="2390" y="0"/>
                </a:cubicBezTo>
                <a:cubicBezTo>
                  <a:pt x="2495" y="0"/>
                  <a:pt x="2581" y="86"/>
                  <a:pt x="2581" y="192"/>
                </a:cubicBezTo>
                <a:close/>
                <a:moveTo>
                  <a:pt x="2473" y="192"/>
                </a:moveTo>
                <a:cubicBezTo>
                  <a:pt x="2473" y="146"/>
                  <a:pt x="2436" y="108"/>
                  <a:pt x="2390" y="108"/>
                </a:cubicBezTo>
                <a:cubicBezTo>
                  <a:pt x="191" y="108"/>
                  <a:pt x="191" y="108"/>
                  <a:pt x="191" y="108"/>
                </a:cubicBezTo>
                <a:cubicBezTo>
                  <a:pt x="145" y="108"/>
                  <a:pt x="108" y="146"/>
                  <a:pt x="108" y="192"/>
                </a:cubicBezTo>
                <a:cubicBezTo>
                  <a:pt x="108" y="1744"/>
                  <a:pt x="108" y="1744"/>
                  <a:pt x="108" y="1744"/>
                </a:cubicBezTo>
                <a:cubicBezTo>
                  <a:pt x="108" y="1790"/>
                  <a:pt x="145" y="1828"/>
                  <a:pt x="191" y="1828"/>
                </a:cubicBezTo>
                <a:cubicBezTo>
                  <a:pt x="2390" y="1828"/>
                  <a:pt x="2390" y="1828"/>
                  <a:pt x="2390" y="1828"/>
                </a:cubicBezTo>
                <a:cubicBezTo>
                  <a:pt x="2436" y="1828"/>
                  <a:pt x="2473" y="1790"/>
                  <a:pt x="2473" y="1744"/>
                </a:cubicBezTo>
                <a:lnTo>
                  <a:pt x="2473" y="192"/>
                </a:lnTo>
                <a:close/>
                <a:moveTo>
                  <a:pt x="1510" y="1317"/>
                </a:moveTo>
                <a:cubicBezTo>
                  <a:pt x="1071" y="1317"/>
                  <a:pt x="1071" y="1317"/>
                  <a:pt x="1071" y="1317"/>
                </a:cubicBezTo>
                <a:cubicBezTo>
                  <a:pt x="955" y="1317"/>
                  <a:pt x="860" y="1412"/>
                  <a:pt x="860" y="1527"/>
                </a:cubicBezTo>
                <a:cubicBezTo>
                  <a:pt x="860" y="1667"/>
                  <a:pt x="860" y="1667"/>
                  <a:pt x="860" y="1667"/>
                </a:cubicBezTo>
                <a:cubicBezTo>
                  <a:pt x="860" y="1697"/>
                  <a:pt x="885" y="1721"/>
                  <a:pt x="914" y="1721"/>
                </a:cubicBezTo>
                <a:cubicBezTo>
                  <a:pt x="944" y="1721"/>
                  <a:pt x="968" y="1697"/>
                  <a:pt x="968" y="1667"/>
                </a:cubicBezTo>
                <a:cubicBezTo>
                  <a:pt x="968" y="1527"/>
                  <a:pt x="968" y="1527"/>
                  <a:pt x="968" y="1527"/>
                </a:cubicBezTo>
                <a:cubicBezTo>
                  <a:pt x="968" y="1471"/>
                  <a:pt x="1014" y="1425"/>
                  <a:pt x="1071" y="1425"/>
                </a:cubicBezTo>
                <a:cubicBezTo>
                  <a:pt x="1510" y="1425"/>
                  <a:pt x="1510" y="1425"/>
                  <a:pt x="1510" y="1425"/>
                </a:cubicBezTo>
                <a:cubicBezTo>
                  <a:pt x="1567" y="1425"/>
                  <a:pt x="1613" y="1471"/>
                  <a:pt x="1613" y="1527"/>
                </a:cubicBezTo>
                <a:cubicBezTo>
                  <a:pt x="1613" y="1667"/>
                  <a:pt x="1613" y="1667"/>
                  <a:pt x="1613" y="1667"/>
                </a:cubicBezTo>
                <a:cubicBezTo>
                  <a:pt x="1613" y="1697"/>
                  <a:pt x="1637" y="1721"/>
                  <a:pt x="1667" y="1721"/>
                </a:cubicBezTo>
                <a:cubicBezTo>
                  <a:pt x="1697" y="1721"/>
                  <a:pt x="1721" y="1697"/>
                  <a:pt x="1721" y="1667"/>
                </a:cubicBezTo>
                <a:cubicBezTo>
                  <a:pt x="1721" y="1527"/>
                  <a:pt x="1721" y="1527"/>
                  <a:pt x="1721" y="1527"/>
                </a:cubicBezTo>
                <a:cubicBezTo>
                  <a:pt x="1721" y="1412"/>
                  <a:pt x="1626" y="1317"/>
                  <a:pt x="1510" y="1317"/>
                </a:cubicBezTo>
                <a:close/>
                <a:moveTo>
                  <a:pt x="1022" y="941"/>
                </a:moveTo>
                <a:cubicBezTo>
                  <a:pt x="1022" y="793"/>
                  <a:pt x="1142" y="672"/>
                  <a:pt x="1291" y="672"/>
                </a:cubicBezTo>
                <a:cubicBezTo>
                  <a:pt x="1439" y="672"/>
                  <a:pt x="1559" y="793"/>
                  <a:pt x="1559" y="941"/>
                </a:cubicBezTo>
                <a:cubicBezTo>
                  <a:pt x="1559" y="1089"/>
                  <a:pt x="1439" y="1210"/>
                  <a:pt x="1291" y="1210"/>
                </a:cubicBezTo>
                <a:cubicBezTo>
                  <a:pt x="1142" y="1210"/>
                  <a:pt x="1022" y="1089"/>
                  <a:pt x="1022" y="941"/>
                </a:cubicBezTo>
                <a:close/>
                <a:moveTo>
                  <a:pt x="1129" y="941"/>
                </a:moveTo>
                <a:cubicBezTo>
                  <a:pt x="1129" y="1030"/>
                  <a:pt x="1202" y="1102"/>
                  <a:pt x="1291" y="1102"/>
                </a:cubicBezTo>
                <a:cubicBezTo>
                  <a:pt x="1379" y="1102"/>
                  <a:pt x="1452" y="1030"/>
                  <a:pt x="1452" y="941"/>
                </a:cubicBezTo>
                <a:cubicBezTo>
                  <a:pt x="1452" y="852"/>
                  <a:pt x="1379" y="780"/>
                  <a:pt x="1291" y="780"/>
                </a:cubicBezTo>
                <a:cubicBezTo>
                  <a:pt x="1202" y="780"/>
                  <a:pt x="1129" y="852"/>
                  <a:pt x="1129" y="941"/>
                </a:cubicBezTo>
                <a:close/>
              </a:path>
            </a:pathLst>
          </a:custGeom>
          <a:solidFill>
            <a:srgbClr val="1831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2">
            <a:extLst>
              <a:ext uri="{FF2B5EF4-FFF2-40B4-BE49-F238E27FC236}">
                <a16:creationId xmlns:a16="http://schemas.microsoft.com/office/drawing/2014/main" id="{4B3DCF99-4807-2F21-1158-C2E750E92F00}"/>
              </a:ext>
            </a:extLst>
          </p:cNvPr>
          <p:cNvSpPr txBox="1">
            <a:spLocks/>
          </p:cNvSpPr>
          <p:nvPr/>
        </p:nvSpPr>
        <p:spPr>
          <a:xfrm>
            <a:off x="660293" y="417126"/>
            <a:ext cx="10673771" cy="613209"/>
          </a:xfrm>
          <a:prstGeom prst="rect">
            <a:avLst/>
          </a:prstGeom>
          <a:noFill/>
          <a:ln>
            <a:noFill/>
          </a:ln>
        </p:spPr>
        <p:txBody>
          <a:bodyPr spcFirstLastPara="1" wrap="square" lIns="91425" tIns="45700" rIns="91425" bIns="45700" anchor="ctr" anchorCtr="0">
            <a:normAutofit lnSpcReduction="100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u="sng" dirty="0">
                <a:solidFill>
                  <a:schemeClr val="tx1"/>
                </a:solidFill>
                <a:latin typeface="Berlin Sans FB" panose="020E0602020502020306" pitchFamily="34" charset="0"/>
                <a:cs typeface="Helvetica" panose="020B0604020202020204" pitchFamily="34" charset="0"/>
              </a:rPr>
              <a:t>Team Members </a:t>
            </a:r>
          </a:p>
        </p:txBody>
      </p:sp>
    </p:spTree>
    <p:extLst>
      <p:ext uri="{BB962C8B-B14F-4D97-AF65-F5344CB8AC3E}">
        <p14:creationId xmlns:p14="http://schemas.microsoft.com/office/powerpoint/2010/main" val="4280789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E5DB29-7B84-133B-CFFB-4902D762A3D4}"/>
              </a:ext>
            </a:extLst>
          </p:cNvPr>
          <p:cNvSpPr>
            <a:spLocks noGrp="1"/>
          </p:cNvSpPr>
          <p:nvPr>
            <p:ph type="title"/>
          </p:nvPr>
        </p:nvSpPr>
        <p:spPr>
          <a:xfrm>
            <a:off x="463550" y="272224"/>
            <a:ext cx="11260278" cy="713216"/>
          </a:xfrm>
        </p:spPr>
        <p:txBody>
          <a:bodyPr>
            <a:noAutofit/>
          </a:bodyPr>
          <a:lstStyle/>
          <a:p>
            <a:pPr algn="ctr">
              <a:buClr>
                <a:schemeClr val="lt1"/>
              </a:buClr>
              <a:buSzPts val="4400"/>
            </a:pPr>
            <a:r>
              <a:rPr lang="en-IN" sz="3200" dirty="0">
                <a:solidFill>
                  <a:schemeClr val="tx1"/>
                </a:solidFill>
                <a:latin typeface="Berlin Sans FB" panose="020E0602020502020306" pitchFamily="34" charset="0"/>
                <a:cs typeface="Helvetica" panose="020B0604020202020204" pitchFamily="34" charset="0"/>
              </a:rPr>
              <a:t>Machine Learning Model Deployment with </a:t>
            </a:r>
            <a:r>
              <a:rPr lang="en-IN" sz="3200" dirty="0" err="1">
                <a:solidFill>
                  <a:schemeClr val="tx1"/>
                </a:solidFill>
                <a:latin typeface="Berlin Sans FB" panose="020E0602020502020306" pitchFamily="34" charset="0"/>
                <a:cs typeface="Helvetica" panose="020B0604020202020204" pitchFamily="34" charset="0"/>
              </a:rPr>
              <a:t>Streamlit</a:t>
            </a:r>
            <a:r>
              <a:rPr lang="en-IN" sz="3200" dirty="0">
                <a:solidFill>
                  <a:schemeClr val="tx1"/>
                </a:solidFill>
                <a:latin typeface="Berlin Sans FB" panose="020E0602020502020306" pitchFamily="34" charset="0"/>
                <a:cs typeface="Helvetica" panose="020B0604020202020204" pitchFamily="34" charset="0"/>
              </a:rPr>
              <a:t> Web-App</a:t>
            </a:r>
          </a:p>
        </p:txBody>
      </p:sp>
      <p:pic>
        <p:nvPicPr>
          <p:cNvPr id="3" name="Picture 2">
            <a:extLst>
              <a:ext uri="{FF2B5EF4-FFF2-40B4-BE49-F238E27FC236}">
                <a16:creationId xmlns:a16="http://schemas.microsoft.com/office/drawing/2014/main" id="{B232E8BF-A751-D918-8C3F-DDA85AF197FF}"/>
              </a:ext>
            </a:extLst>
          </p:cNvPr>
          <p:cNvPicPr>
            <a:picLocks noChangeAspect="1"/>
          </p:cNvPicPr>
          <p:nvPr/>
        </p:nvPicPr>
        <p:blipFill rotWithShape="1">
          <a:blip r:embed="rId2"/>
          <a:srcRect l="15995" t="20951" r="17271" b="10339"/>
          <a:stretch/>
        </p:blipFill>
        <p:spPr>
          <a:xfrm>
            <a:off x="2295330" y="1268963"/>
            <a:ext cx="7875037" cy="4560780"/>
          </a:xfrm>
          <a:prstGeom prst="rect">
            <a:avLst/>
          </a:prstGeom>
        </p:spPr>
      </p:pic>
      <p:sp>
        <p:nvSpPr>
          <p:cNvPr id="6" name="TextBox 5">
            <a:extLst>
              <a:ext uri="{FF2B5EF4-FFF2-40B4-BE49-F238E27FC236}">
                <a16:creationId xmlns:a16="http://schemas.microsoft.com/office/drawing/2014/main" id="{5649C61C-890E-C1D1-A8B7-218A3E1F1900}"/>
              </a:ext>
            </a:extLst>
          </p:cNvPr>
          <p:cNvSpPr txBox="1"/>
          <p:nvPr/>
        </p:nvSpPr>
        <p:spPr>
          <a:xfrm>
            <a:off x="2295329" y="5958348"/>
            <a:ext cx="7875037" cy="307777"/>
          </a:xfrm>
          <a:prstGeom prst="rect">
            <a:avLst/>
          </a:prstGeom>
          <a:solidFill>
            <a:srgbClr val="D0D0D0"/>
          </a:solidFill>
        </p:spPr>
        <p:txBody>
          <a:bodyPr wrap="square">
            <a:spAutoFit/>
          </a:bodyPr>
          <a:lstStyle/>
          <a:p>
            <a:pPr algn="ctr"/>
            <a:r>
              <a:rPr lang="en-US" dirty="0">
                <a:solidFill>
                  <a:srgbClr val="048CBC"/>
                </a:solidFill>
                <a:hlinkClick r:id="rId3"/>
              </a:rPr>
              <a:t>Link to video of Machine Learning Deployment with </a:t>
            </a:r>
            <a:r>
              <a:rPr lang="en-US" dirty="0" err="1">
                <a:solidFill>
                  <a:srgbClr val="048CBC"/>
                </a:solidFill>
                <a:hlinkClick r:id="rId3"/>
              </a:rPr>
              <a:t>Streamlit</a:t>
            </a:r>
            <a:r>
              <a:rPr lang="en-US" dirty="0">
                <a:solidFill>
                  <a:srgbClr val="048CBC"/>
                </a:solidFill>
                <a:hlinkClick r:id="rId3"/>
              </a:rPr>
              <a:t> Web-App</a:t>
            </a:r>
            <a:endParaRPr lang="en-IN" dirty="0">
              <a:solidFill>
                <a:srgbClr val="048CBC"/>
              </a:solidFill>
            </a:endParaRPr>
          </a:p>
        </p:txBody>
      </p:sp>
    </p:spTree>
    <p:extLst>
      <p:ext uri="{BB962C8B-B14F-4D97-AF65-F5344CB8AC3E}">
        <p14:creationId xmlns:p14="http://schemas.microsoft.com/office/powerpoint/2010/main" val="1764255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4"/>
          <p:cNvSpPr/>
          <p:nvPr/>
        </p:nvSpPr>
        <p:spPr>
          <a:xfrm>
            <a:off x="64008" y="1080203"/>
            <a:ext cx="2427725" cy="2427725"/>
          </a:xfrm>
          <a:prstGeom prst="arc">
            <a:avLst>
              <a:gd name="adj1" fmla="val 6241896"/>
              <a:gd name="adj2" fmla="val 10299140"/>
            </a:avLst>
          </a:prstGeom>
          <a:ln w="28575">
            <a:solidFill>
              <a:srgbClr val="005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6" name="Arc 5"/>
          <p:cNvSpPr/>
          <p:nvPr/>
        </p:nvSpPr>
        <p:spPr>
          <a:xfrm>
            <a:off x="64008" y="1080203"/>
            <a:ext cx="2427725" cy="2427725"/>
          </a:xfrm>
          <a:prstGeom prst="arc">
            <a:avLst>
              <a:gd name="adj1" fmla="val 1643901"/>
              <a:gd name="adj2" fmla="val 5276980"/>
            </a:avLst>
          </a:prstGeom>
          <a:ln w="28575">
            <a:solidFill>
              <a:srgbClr val="005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7" name="Arc 6"/>
          <p:cNvSpPr/>
          <p:nvPr/>
        </p:nvSpPr>
        <p:spPr>
          <a:xfrm>
            <a:off x="64008" y="1080203"/>
            <a:ext cx="2427725" cy="2427725"/>
          </a:xfrm>
          <a:prstGeom prst="arc">
            <a:avLst>
              <a:gd name="adj1" fmla="val 19103054"/>
              <a:gd name="adj2" fmla="val 1063366"/>
            </a:avLst>
          </a:prstGeom>
          <a:ln w="28575">
            <a:solidFill>
              <a:srgbClr val="005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sp>
        <p:nvSpPr>
          <p:cNvPr id="8" name="Arc 7"/>
          <p:cNvSpPr/>
          <p:nvPr/>
        </p:nvSpPr>
        <p:spPr>
          <a:xfrm>
            <a:off x="64008" y="1080203"/>
            <a:ext cx="2427725" cy="2427725"/>
          </a:xfrm>
          <a:prstGeom prst="arc">
            <a:avLst>
              <a:gd name="adj1" fmla="val 16791060"/>
              <a:gd name="adj2" fmla="val 18456588"/>
            </a:avLst>
          </a:prstGeom>
          <a:ln w="28575">
            <a:solidFill>
              <a:srgbClr val="00588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67" dirty="0"/>
          </a:p>
        </p:txBody>
      </p:sp>
      <p:cxnSp>
        <p:nvCxnSpPr>
          <p:cNvPr id="9" name="Straight Connector 8"/>
          <p:cNvCxnSpPr>
            <a:stCxn id="5" idx="0"/>
          </p:cNvCxnSpPr>
          <p:nvPr/>
        </p:nvCxnSpPr>
        <p:spPr>
          <a:xfrm>
            <a:off x="983561" y="3471710"/>
            <a:ext cx="0" cy="1564649"/>
          </a:xfrm>
          <a:prstGeom prst="line">
            <a:avLst/>
          </a:prstGeom>
          <a:ln w="28575">
            <a:solidFill>
              <a:srgbClr val="00588A"/>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2351190" y="2871079"/>
            <a:ext cx="12241" cy="600631"/>
          </a:xfrm>
          <a:prstGeom prst="line">
            <a:avLst/>
          </a:prstGeom>
          <a:ln w="28575">
            <a:solidFill>
              <a:srgbClr val="36A3C9"/>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16200000" flipH="1">
            <a:off x="2483502" y="1193013"/>
            <a:ext cx="12241" cy="600631"/>
          </a:xfrm>
          <a:prstGeom prst="line">
            <a:avLst/>
          </a:prstGeom>
          <a:ln w="28575">
            <a:solidFill>
              <a:srgbClr val="048CBC"/>
            </a:solidFill>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a:off x="3878601" y="1487206"/>
            <a:ext cx="8240419" cy="1243449"/>
          </a:xfrm>
          <a:prstGeom prst="roundRect">
            <a:avLst>
              <a:gd name="adj" fmla="val 6406"/>
            </a:avLst>
          </a:prstGeom>
          <a:solidFill>
            <a:schemeClr val="bg1">
              <a:lumMod val="95000"/>
            </a:schemeClr>
          </a:solidFill>
          <a:ln w="3175" cap="flat" cmpd="sng" algn="ctr">
            <a:noFill/>
            <a:prstDash val="solid"/>
            <a:round/>
            <a:headEnd type="none" w="med" len="med"/>
            <a:tailEnd type="none" w="med" len="med"/>
          </a:ln>
          <a:effectLst>
            <a:innerShdw blurRad="101600" dist="25400">
              <a:prstClr val="black">
                <a:alpha val="28000"/>
              </a:prstClr>
            </a:innerShdw>
          </a:effectLst>
        </p:spPr>
        <p:txBody>
          <a:bodyPr vert="horz" wrap="square" lIns="121920" tIns="45720" rIns="91440" bIns="45720" numCol="1" rtlCol="0" anchor="ctr" anchorCtr="0" compatLnSpc="1">
            <a:prstTxWarp prst="textNoShape">
              <a:avLst/>
            </a:prstTxWarp>
          </a:bodyPr>
          <a:lstStyle/>
          <a:p>
            <a:pPr marL="285750" indent="-285750">
              <a:buFont typeface="Wingdings" panose="05000000000000000000" pitchFamily="2" charset="2"/>
              <a:buChar char="Ø"/>
            </a:pPr>
            <a:r>
              <a:rPr lang="en-US" dirty="0">
                <a:latin typeface="Futura Lt BT" panose="020B0402020204020303"/>
              </a:rPr>
              <a:t>Duplicate data in most of the application records</a:t>
            </a:r>
          </a:p>
          <a:p>
            <a:pPr marL="285750" indent="-285750">
              <a:buFont typeface="Wingdings" panose="05000000000000000000" pitchFamily="2" charset="2"/>
              <a:buChar char="Ø"/>
            </a:pPr>
            <a:r>
              <a:rPr lang="en-US" dirty="0">
                <a:latin typeface="Futura Lt BT" panose="020B0402020204020303"/>
              </a:rPr>
              <a:t>Null values in occupation type field is approximately 31%</a:t>
            </a:r>
          </a:p>
          <a:p>
            <a:pPr marL="285750" indent="-285750">
              <a:buFont typeface="Wingdings" panose="05000000000000000000" pitchFamily="2" charset="2"/>
              <a:buChar char="Ø"/>
            </a:pPr>
            <a:r>
              <a:rPr lang="en-US" dirty="0">
                <a:latin typeface="Futura Lt BT" panose="020B0402020204020303"/>
              </a:rPr>
              <a:t>Multiple error values in employed years field</a:t>
            </a:r>
          </a:p>
          <a:p>
            <a:pPr marL="285750" indent="-285750">
              <a:buFont typeface="Wingdings" panose="05000000000000000000" pitchFamily="2" charset="2"/>
              <a:buChar char="Ø"/>
            </a:pPr>
            <a:r>
              <a:rPr lang="en-US" dirty="0">
                <a:latin typeface="Futura Lt BT" panose="020B0402020204020303"/>
              </a:rPr>
              <a:t>Mean of continuous variable for eligible and not eligible applicants were almost similar</a:t>
            </a:r>
          </a:p>
        </p:txBody>
      </p:sp>
      <p:sp>
        <p:nvSpPr>
          <p:cNvPr id="13" name="Rounded Rectangle 12"/>
          <p:cNvSpPr/>
          <p:nvPr/>
        </p:nvSpPr>
        <p:spPr>
          <a:xfrm>
            <a:off x="3510989" y="3208142"/>
            <a:ext cx="8506047" cy="1243449"/>
          </a:xfrm>
          <a:prstGeom prst="roundRect">
            <a:avLst>
              <a:gd name="adj" fmla="val 6406"/>
            </a:avLst>
          </a:prstGeom>
          <a:solidFill>
            <a:schemeClr val="bg1">
              <a:lumMod val="95000"/>
            </a:schemeClr>
          </a:solidFill>
          <a:ln w="3175" cap="flat" cmpd="sng" algn="ctr">
            <a:noFill/>
            <a:prstDash val="solid"/>
            <a:round/>
            <a:headEnd type="none" w="med" len="med"/>
            <a:tailEnd type="none" w="med" len="med"/>
          </a:ln>
          <a:effectLst>
            <a:innerShdw blurRad="101600" dist="25400">
              <a:prstClr val="black">
                <a:alpha val="28000"/>
              </a:prstClr>
            </a:innerShdw>
          </a:effectLst>
        </p:spPr>
        <p:txBody>
          <a:bodyPr vert="horz" wrap="square" lIns="121920" tIns="45720" rIns="91440" bIns="45720" numCol="1" rtlCol="0" anchor="ctr" anchorCtr="0" compatLnSpc="1">
            <a:prstTxWarp prst="textNoShape">
              <a:avLst/>
            </a:prstTxWarp>
          </a:bodyPr>
          <a:lstStyle/>
          <a:p>
            <a:pPr marL="285750" indent="-285750">
              <a:buFont typeface="Wingdings" panose="05000000000000000000" pitchFamily="2" charset="2"/>
              <a:buChar char="Ø"/>
            </a:pPr>
            <a:r>
              <a:rPr lang="en-US" dirty="0">
                <a:latin typeface="Futura Lt BT" panose="020B0402020204020303"/>
              </a:rPr>
              <a:t>Data availability should be to the latest</a:t>
            </a:r>
          </a:p>
          <a:p>
            <a:pPr marL="285750" indent="-285750">
              <a:buFont typeface="Wingdings" panose="05000000000000000000" pitchFamily="2" charset="2"/>
              <a:buChar char="Ø"/>
            </a:pPr>
            <a:r>
              <a:rPr lang="en-US" dirty="0">
                <a:latin typeface="Futura Lt BT" panose="020B0402020204020303"/>
              </a:rPr>
              <a:t>To predict accurately it's preferred to have a larger dataset and sample size</a:t>
            </a:r>
          </a:p>
          <a:p>
            <a:pPr marL="285750" indent="-285750">
              <a:buFont typeface="Wingdings" panose="05000000000000000000" pitchFamily="2" charset="2"/>
              <a:buChar char="Ø"/>
            </a:pPr>
            <a:r>
              <a:rPr lang="en-US" dirty="0">
                <a:latin typeface="Futura Lt BT" panose="020B0402020204020303"/>
              </a:rPr>
              <a:t>Variables with VIF &gt; 5 are usually dropped but we can still consider them based on the business need and its significance</a:t>
            </a:r>
          </a:p>
        </p:txBody>
      </p:sp>
      <p:sp>
        <p:nvSpPr>
          <p:cNvPr id="14" name="Rounded Rectangle 13"/>
          <p:cNvSpPr/>
          <p:nvPr/>
        </p:nvSpPr>
        <p:spPr>
          <a:xfrm>
            <a:off x="2098839" y="4850076"/>
            <a:ext cx="8581353" cy="1349556"/>
          </a:xfrm>
          <a:prstGeom prst="roundRect">
            <a:avLst>
              <a:gd name="adj" fmla="val 6406"/>
            </a:avLst>
          </a:prstGeom>
          <a:solidFill>
            <a:schemeClr val="bg1">
              <a:lumMod val="95000"/>
            </a:schemeClr>
          </a:solidFill>
          <a:ln w="3175" cap="flat" cmpd="sng" algn="ctr">
            <a:noFill/>
            <a:prstDash val="solid"/>
            <a:round/>
            <a:headEnd type="none" w="med" len="med"/>
            <a:tailEnd type="none" w="med" len="med"/>
          </a:ln>
          <a:effectLst>
            <a:innerShdw blurRad="101600" dist="25400">
              <a:prstClr val="black">
                <a:alpha val="28000"/>
              </a:prstClr>
            </a:innerShdw>
          </a:effectLst>
        </p:spPr>
        <p:txBody>
          <a:bodyPr vert="horz" wrap="square" lIns="121920" tIns="45720" rIns="91440" bIns="45720" numCol="1" rtlCol="0" anchor="ctr" anchorCtr="0" compatLnSpc="1">
            <a:prstTxWarp prst="textNoShape">
              <a:avLst/>
            </a:prstTxWarp>
          </a:bodyPr>
          <a:lstStyle/>
          <a:p>
            <a:pPr marL="285750" indent="-285750">
              <a:buFont typeface="Wingdings" panose="05000000000000000000" pitchFamily="2" charset="2"/>
              <a:buChar char="Ø"/>
            </a:pPr>
            <a:r>
              <a:rPr lang="en-US" dirty="0">
                <a:latin typeface="Futura Lt BT" panose="020B0402020204020303"/>
              </a:rPr>
              <a:t>In present scenario we have used worst instance of credit history of the applicant as eligibility criteria. In future we can consider calculating credit score based on payment history to decide his eligibility for the product.  </a:t>
            </a:r>
          </a:p>
          <a:p>
            <a:pPr marL="285750" indent="-285750">
              <a:buFont typeface="Wingdings" panose="05000000000000000000" pitchFamily="2" charset="2"/>
              <a:buChar char="Ø"/>
            </a:pPr>
            <a:r>
              <a:rPr lang="en-US" dirty="0">
                <a:latin typeface="Futura Lt BT" panose="020B0402020204020303"/>
              </a:rPr>
              <a:t>Hyper-parameter tuning to improve the model performance</a:t>
            </a:r>
          </a:p>
          <a:p>
            <a:pPr marL="285750" indent="-285750">
              <a:buFont typeface="Wingdings" panose="05000000000000000000" pitchFamily="2" charset="2"/>
              <a:buChar char="Ø"/>
            </a:pPr>
            <a:r>
              <a:rPr lang="en-US" dirty="0">
                <a:latin typeface="Futura Lt BT" panose="020B0402020204020303"/>
              </a:rPr>
              <a:t>Implementing Neural Network Models to check if it fits best</a:t>
            </a:r>
          </a:p>
          <a:p>
            <a:pPr marL="285750" indent="-285750">
              <a:buFont typeface="Wingdings" panose="05000000000000000000" pitchFamily="2" charset="2"/>
              <a:buChar char="Ø"/>
            </a:pPr>
            <a:r>
              <a:rPr lang="en-US" dirty="0">
                <a:latin typeface="Futura Lt BT" panose="020B0402020204020303"/>
              </a:rPr>
              <a:t>Including additional features and test as it may improve the model performance</a:t>
            </a:r>
          </a:p>
        </p:txBody>
      </p:sp>
      <p:sp>
        <p:nvSpPr>
          <p:cNvPr id="15" name="Oval 14"/>
          <p:cNvSpPr/>
          <p:nvPr/>
        </p:nvSpPr>
        <p:spPr>
          <a:xfrm>
            <a:off x="276899" y="1253902"/>
            <a:ext cx="1974807" cy="1974807"/>
          </a:xfrm>
          <a:prstGeom prst="ellipse">
            <a:avLst/>
          </a:prstGeom>
          <a:gradFill flip="none" rotWithShape="1">
            <a:gsLst>
              <a:gs pos="840">
                <a:srgbClr val="F0F0EC"/>
              </a:gs>
              <a:gs pos="27000">
                <a:schemeClr val="accent5">
                  <a:lumMod val="5000"/>
                  <a:lumOff val="95000"/>
                </a:schemeClr>
              </a:gs>
              <a:gs pos="100000">
                <a:schemeClr val="bg1">
                  <a:lumMod val="85000"/>
                </a:schemeClr>
              </a:gs>
            </a:gsLst>
            <a:path path="circle">
              <a:fillToRect l="100000" t="100000"/>
            </a:path>
            <a:tileRect r="-100000" b="-100000"/>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rgbClr val="00588A"/>
                </a:solidFill>
                <a:latin typeface="Berlin Sans FB" panose="020E0602020502020306" pitchFamily="34" charset="0"/>
              </a:rPr>
              <a:t>CLLF</a:t>
            </a:r>
          </a:p>
        </p:txBody>
      </p:sp>
      <p:sp>
        <p:nvSpPr>
          <p:cNvPr id="16" name="Rounded Rectangle 15"/>
          <p:cNvSpPr/>
          <p:nvPr/>
        </p:nvSpPr>
        <p:spPr>
          <a:xfrm>
            <a:off x="2704624" y="1487206"/>
            <a:ext cx="1173976" cy="1243449"/>
          </a:xfrm>
          <a:prstGeom prst="roundRect">
            <a:avLst>
              <a:gd name="adj" fmla="val 6406"/>
            </a:avLst>
          </a:prstGeom>
          <a:solidFill>
            <a:srgbClr val="048CBC"/>
          </a:solidFill>
          <a:ln w="3175" cap="flat" cmpd="sng" algn="ctr">
            <a:noFill/>
            <a:prstDash val="solid"/>
            <a:round/>
            <a:headEnd type="none" w="med" len="med"/>
            <a:tailEnd type="none" w="med" len="med"/>
          </a:ln>
          <a:effectLst>
            <a:innerShdw blurRad="38100" dist="25400">
              <a:prstClr val="black">
                <a:alpha val="21000"/>
              </a:prstClr>
            </a:innerShdw>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600" dirty="0">
                <a:solidFill>
                  <a:schemeClr val="bg1"/>
                </a:solidFill>
                <a:latin typeface="Berlin Sans FB" panose="020E0602020502020306" pitchFamily="34" charset="0"/>
              </a:rPr>
              <a:t>Challenges &amp; Limitations</a:t>
            </a:r>
            <a:r>
              <a:rPr lang="en-US" sz="1867" dirty="0">
                <a:solidFill>
                  <a:schemeClr val="bg1"/>
                </a:solidFill>
              </a:rPr>
              <a:t> </a:t>
            </a:r>
          </a:p>
        </p:txBody>
      </p:sp>
      <p:sp>
        <p:nvSpPr>
          <p:cNvPr id="17" name="Rounded Rectangle 16"/>
          <p:cNvSpPr/>
          <p:nvPr/>
        </p:nvSpPr>
        <p:spPr>
          <a:xfrm>
            <a:off x="2337012" y="3202592"/>
            <a:ext cx="1173976" cy="1243449"/>
          </a:xfrm>
          <a:prstGeom prst="roundRect">
            <a:avLst>
              <a:gd name="adj" fmla="val 6406"/>
            </a:avLst>
          </a:prstGeom>
          <a:solidFill>
            <a:srgbClr val="36A3C9"/>
          </a:solidFill>
          <a:ln w="3175" cap="flat" cmpd="sng" algn="ctr">
            <a:noFill/>
            <a:prstDash val="solid"/>
            <a:round/>
            <a:headEnd type="none" w="med" len="med"/>
            <a:tailEnd type="none" w="med" len="med"/>
          </a:ln>
          <a:effectLst>
            <a:innerShdw blurRad="38100" dist="25400">
              <a:prstClr val="black">
                <a:alpha val="21000"/>
              </a:prstClr>
            </a:innerShdw>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600">
                <a:solidFill>
                  <a:schemeClr val="bg1"/>
                </a:solidFill>
                <a:latin typeface="Berlin Sans FB" panose="020E0602020502020306" pitchFamily="34" charset="0"/>
              </a:rPr>
              <a:t>Learning</a:t>
            </a:r>
            <a:endParaRPr lang="en-US" sz="1600" dirty="0">
              <a:solidFill>
                <a:schemeClr val="bg1"/>
              </a:solidFill>
              <a:latin typeface="Berlin Sans FB" panose="020E0602020502020306" pitchFamily="34" charset="0"/>
            </a:endParaRPr>
          </a:p>
        </p:txBody>
      </p:sp>
      <p:sp>
        <p:nvSpPr>
          <p:cNvPr id="18" name="Rounded Rectangle 17"/>
          <p:cNvSpPr/>
          <p:nvPr/>
        </p:nvSpPr>
        <p:spPr>
          <a:xfrm>
            <a:off x="952167" y="4850076"/>
            <a:ext cx="1184369" cy="1349556"/>
          </a:xfrm>
          <a:prstGeom prst="roundRect">
            <a:avLst>
              <a:gd name="adj" fmla="val 6406"/>
            </a:avLst>
          </a:prstGeom>
          <a:solidFill>
            <a:srgbClr val="00588A"/>
          </a:solidFill>
          <a:ln w="3175" cap="flat" cmpd="sng" algn="ctr">
            <a:noFill/>
            <a:prstDash val="solid"/>
            <a:round/>
            <a:headEnd type="none" w="med" len="med"/>
            <a:tailEnd type="none" w="med" len="med"/>
          </a:ln>
          <a:effectLst>
            <a:innerShdw blurRad="38100" dist="25400">
              <a:prstClr val="black">
                <a:alpha val="21000"/>
              </a:prstClr>
            </a:innerShdw>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600" dirty="0">
                <a:solidFill>
                  <a:schemeClr val="bg1"/>
                </a:solidFill>
                <a:latin typeface="Berlin Sans FB" panose="020E0602020502020306" pitchFamily="34" charset="0"/>
              </a:rPr>
              <a:t>Future scope </a:t>
            </a:r>
          </a:p>
        </p:txBody>
      </p:sp>
      <p:sp>
        <p:nvSpPr>
          <p:cNvPr id="19" name="Title 2">
            <a:extLst>
              <a:ext uri="{FF2B5EF4-FFF2-40B4-BE49-F238E27FC236}">
                <a16:creationId xmlns:a16="http://schemas.microsoft.com/office/drawing/2014/main" id="{4B3DCF99-4807-2F21-1158-C2E750E92F00}"/>
              </a:ext>
            </a:extLst>
          </p:cNvPr>
          <p:cNvSpPr txBox="1">
            <a:spLocks/>
          </p:cNvSpPr>
          <p:nvPr/>
        </p:nvSpPr>
        <p:spPr>
          <a:xfrm>
            <a:off x="675124" y="262129"/>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Challenges, Limitations, Learning &amp; Future scope</a:t>
            </a:r>
          </a:p>
        </p:txBody>
      </p:sp>
    </p:spTree>
    <p:extLst>
      <p:ext uri="{BB962C8B-B14F-4D97-AF65-F5344CB8AC3E}">
        <p14:creationId xmlns:p14="http://schemas.microsoft.com/office/powerpoint/2010/main" val="24194516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623219" y="980022"/>
            <a:ext cx="3658332" cy="4976279"/>
            <a:chOff x="4286939" y="735016"/>
            <a:chExt cx="2743749" cy="3732209"/>
          </a:xfrm>
        </p:grpSpPr>
        <p:sp>
          <p:nvSpPr>
            <p:cNvPr id="16" name="Freeform 1552"/>
            <p:cNvSpPr>
              <a:spLocks/>
            </p:cNvSpPr>
            <p:nvPr/>
          </p:nvSpPr>
          <p:spPr bwMode="auto">
            <a:xfrm>
              <a:off x="4401746" y="1936453"/>
              <a:ext cx="438076" cy="500515"/>
            </a:xfrm>
            <a:custGeom>
              <a:avLst/>
              <a:gdLst/>
              <a:ahLst/>
              <a:cxnLst>
                <a:cxn ang="0">
                  <a:pos x="0" y="216"/>
                </a:cxn>
                <a:cxn ang="0">
                  <a:pos x="28" y="327"/>
                </a:cxn>
                <a:cxn ang="0">
                  <a:pos x="260" y="425"/>
                </a:cxn>
                <a:cxn ang="0">
                  <a:pos x="325" y="229"/>
                </a:cxn>
                <a:cxn ang="0">
                  <a:pos x="316" y="0"/>
                </a:cxn>
                <a:cxn ang="0">
                  <a:pos x="65" y="69"/>
                </a:cxn>
                <a:cxn ang="0">
                  <a:pos x="0" y="216"/>
                </a:cxn>
              </a:cxnLst>
              <a:rect l="0" t="0" r="r" b="b"/>
              <a:pathLst>
                <a:path w="459" h="490">
                  <a:moveTo>
                    <a:pt x="0" y="216"/>
                  </a:moveTo>
                  <a:cubicBezTo>
                    <a:pt x="28" y="327"/>
                    <a:pt x="28" y="327"/>
                    <a:pt x="28" y="327"/>
                  </a:cubicBezTo>
                  <a:cubicBezTo>
                    <a:pt x="28" y="327"/>
                    <a:pt x="62" y="490"/>
                    <a:pt x="260" y="425"/>
                  </a:cubicBezTo>
                  <a:cubicBezTo>
                    <a:pt x="459" y="360"/>
                    <a:pt x="318" y="231"/>
                    <a:pt x="325" y="229"/>
                  </a:cubicBezTo>
                  <a:cubicBezTo>
                    <a:pt x="333" y="227"/>
                    <a:pt x="316" y="0"/>
                    <a:pt x="316" y="0"/>
                  </a:cubicBezTo>
                  <a:cubicBezTo>
                    <a:pt x="65" y="69"/>
                    <a:pt x="65" y="69"/>
                    <a:pt x="65" y="69"/>
                  </a:cubicBezTo>
                  <a:lnTo>
                    <a:pt x="0" y="216"/>
                  </a:lnTo>
                  <a:close/>
                </a:path>
              </a:pathLst>
            </a:custGeom>
            <a:solidFill>
              <a:srgbClr val="048CBC"/>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17" name="Freeform 1553"/>
            <p:cNvSpPr>
              <a:spLocks/>
            </p:cNvSpPr>
            <p:nvPr/>
          </p:nvSpPr>
          <p:spPr bwMode="auto">
            <a:xfrm>
              <a:off x="4486339" y="3005964"/>
              <a:ext cx="478359" cy="516628"/>
            </a:xfrm>
            <a:custGeom>
              <a:avLst/>
              <a:gdLst/>
              <a:ahLst/>
              <a:cxnLst>
                <a:cxn ang="0">
                  <a:pos x="0" y="229"/>
                </a:cxn>
                <a:cxn ang="0">
                  <a:pos x="39" y="341"/>
                </a:cxn>
                <a:cxn ang="0">
                  <a:pos x="294" y="435"/>
                </a:cxn>
                <a:cxn ang="0">
                  <a:pos x="348" y="234"/>
                </a:cxn>
                <a:cxn ang="0">
                  <a:pos x="321" y="0"/>
                </a:cxn>
                <a:cxn ang="0">
                  <a:pos x="58" y="77"/>
                </a:cxn>
                <a:cxn ang="0">
                  <a:pos x="0" y="229"/>
                </a:cxn>
              </a:cxnLst>
              <a:rect l="0" t="0" r="r" b="b"/>
              <a:pathLst>
                <a:path w="501" h="506">
                  <a:moveTo>
                    <a:pt x="0" y="229"/>
                  </a:moveTo>
                  <a:cubicBezTo>
                    <a:pt x="39" y="341"/>
                    <a:pt x="39" y="341"/>
                    <a:pt x="39" y="341"/>
                  </a:cubicBezTo>
                  <a:cubicBezTo>
                    <a:pt x="39" y="341"/>
                    <a:pt x="87" y="506"/>
                    <a:pt x="294" y="435"/>
                  </a:cubicBezTo>
                  <a:cubicBezTo>
                    <a:pt x="501" y="364"/>
                    <a:pt x="341" y="236"/>
                    <a:pt x="348" y="234"/>
                  </a:cubicBezTo>
                  <a:cubicBezTo>
                    <a:pt x="356" y="231"/>
                    <a:pt x="321" y="0"/>
                    <a:pt x="321" y="0"/>
                  </a:cubicBezTo>
                  <a:cubicBezTo>
                    <a:pt x="58" y="77"/>
                    <a:pt x="58" y="77"/>
                    <a:pt x="58" y="77"/>
                  </a:cubicBezTo>
                  <a:lnTo>
                    <a:pt x="0" y="229"/>
                  </a:lnTo>
                  <a:close/>
                </a:path>
              </a:pathLst>
            </a:custGeom>
            <a:solidFill>
              <a:srgbClr val="A0D4F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18" name="Freeform 1554"/>
            <p:cNvSpPr>
              <a:spLocks/>
            </p:cNvSpPr>
            <p:nvPr/>
          </p:nvSpPr>
          <p:spPr bwMode="auto">
            <a:xfrm>
              <a:off x="4520580" y="3949590"/>
              <a:ext cx="478359" cy="517635"/>
            </a:xfrm>
            <a:custGeom>
              <a:avLst/>
              <a:gdLst/>
              <a:ahLst/>
              <a:cxnLst>
                <a:cxn ang="0">
                  <a:pos x="0" y="228"/>
                </a:cxn>
                <a:cxn ang="0">
                  <a:pos x="39" y="340"/>
                </a:cxn>
                <a:cxn ang="0">
                  <a:pos x="294" y="435"/>
                </a:cxn>
                <a:cxn ang="0">
                  <a:pos x="349" y="233"/>
                </a:cxn>
                <a:cxn ang="0">
                  <a:pos x="321" y="0"/>
                </a:cxn>
                <a:cxn ang="0">
                  <a:pos x="58" y="76"/>
                </a:cxn>
                <a:cxn ang="0">
                  <a:pos x="0" y="228"/>
                </a:cxn>
              </a:cxnLst>
              <a:rect l="0" t="0" r="r" b="b"/>
              <a:pathLst>
                <a:path w="501" h="506">
                  <a:moveTo>
                    <a:pt x="0" y="228"/>
                  </a:moveTo>
                  <a:cubicBezTo>
                    <a:pt x="39" y="340"/>
                    <a:pt x="39" y="340"/>
                    <a:pt x="39" y="340"/>
                  </a:cubicBezTo>
                  <a:cubicBezTo>
                    <a:pt x="39" y="340"/>
                    <a:pt x="88" y="506"/>
                    <a:pt x="294" y="435"/>
                  </a:cubicBezTo>
                  <a:cubicBezTo>
                    <a:pt x="501" y="364"/>
                    <a:pt x="341" y="236"/>
                    <a:pt x="349" y="233"/>
                  </a:cubicBezTo>
                  <a:cubicBezTo>
                    <a:pt x="356" y="230"/>
                    <a:pt x="321" y="0"/>
                    <a:pt x="321" y="0"/>
                  </a:cubicBezTo>
                  <a:cubicBezTo>
                    <a:pt x="58" y="76"/>
                    <a:pt x="58" y="76"/>
                    <a:pt x="58" y="76"/>
                  </a:cubicBezTo>
                  <a:lnTo>
                    <a:pt x="0" y="228"/>
                  </a:lnTo>
                  <a:close/>
                </a:path>
              </a:pathLst>
            </a:custGeom>
            <a:solidFill>
              <a:srgbClr val="00588A"/>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p:nvPr/>
          </p:nvSpPr>
          <p:spPr bwMode="auto">
            <a:xfrm rot="10623870">
              <a:off x="4611111" y="1217067"/>
              <a:ext cx="2419577" cy="3193486"/>
            </a:xfrm>
            <a:custGeom>
              <a:avLst/>
              <a:gdLst>
                <a:gd name="connsiteX0" fmla="*/ 0 w 3632045"/>
                <a:gd name="connsiteY0" fmla="*/ 0 h 4941260"/>
                <a:gd name="connsiteX1" fmla="*/ 3632045 w 3632045"/>
                <a:gd name="connsiteY1" fmla="*/ 0 h 4941260"/>
                <a:gd name="connsiteX2" fmla="*/ 3632045 w 3632045"/>
                <a:gd name="connsiteY2" fmla="*/ 4941260 h 4941260"/>
                <a:gd name="connsiteX3" fmla="*/ 0 w 3632045"/>
                <a:gd name="connsiteY3" fmla="*/ 4941260 h 4941260"/>
                <a:gd name="connsiteX4" fmla="*/ 0 w 3632045"/>
                <a:gd name="connsiteY4" fmla="*/ 0 h 4941260"/>
                <a:gd name="connsiteX0" fmla="*/ 202283 w 3632045"/>
                <a:gd name="connsiteY0" fmla="*/ 23089 h 4941260"/>
                <a:gd name="connsiteX1" fmla="*/ 3632045 w 3632045"/>
                <a:gd name="connsiteY1" fmla="*/ 0 h 4941260"/>
                <a:gd name="connsiteX2" fmla="*/ 3632045 w 3632045"/>
                <a:gd name="connsiteY2" fmla="*/ 4941260 h 4941260"/>
                <a:gd name="connsiteX3" fmla="*/ 0 w 3632045"/>
                <a:gd name="connsiteY3" fmla="*/ 4941260 h 4941260"/>
                <a:gd name="connsiteX4" fmla="*/ 202283 w 3632045"/>
                <a:gd name="connsiteY4" fmla="*/ 23089 h 4941260"/>
                <a:gd name="connsiteX0" fmla="*/ 327216 w 3756978"/>
                <a:gd name="connsiteY0" fmla="*/ 23089 h 4941260"/>
                <a:gd name="connsiteX1" fmla="*/ 3756978 w 3756978"/>
                <a:gd name="connsiteY1" fmla="*/ 0 h 4941260"/>
                <a:gd name="connsiteX2" fmla="*/ 3756978 w 3756978"/>
                <a:gd name="connsiteY2" fmla="*/ 4941260 h 4941260"/>
                <a:gd name="connsiteX3" fmla="*/ 0 w 3756978"/>
                <a:gd name="connsiteY3" fmla="*/ 4934876 h 4941260"/>
                <a:gd name="connsiteX4" fmla="*/ 327216 w 3756978"/>
                <a:gd name="connsiteY4" fmla="*/ 23089 h 4941260"/>
                <a:gd name="connsiteX0" fmla="*/ 289095 w 3756978"/>
                <a:gd name="connsiteY0" fmla="*/ 33624 h 4941260"/>
                <a:gd name="connsiteX1" fmla="*/ 3756978 w 3756978"/>
                <a:gd name="connsiteY1" fmla="*/ 0 h 4941260"/>
                <a:gd name="connsiteX2" fmla="*/ 3756978 w 3756978"/>
                <a:gd name="connsiteY2" fmla="*/ 4941260 h 4941260"/>
                <a:gd name="connsiteX3" fmla="*/ 0 w 3756978"/>
                <a:gd name="connsiteY3" fmla="*/ 4934876 h 4941260"/>
                <a:gd name="connsiteX4" fmla="*/ 289095 w 3756978"/>
                <a:gd name="connsiteY4" fmla="*/ 33624 h 4941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6978" h="4941260">
                  <a:moveTo>
                    <a:pt x="289095" y="33624"/>
                  </a:moveTo>
                  <a:lnTo>
                    <a:pt x="3756978" y="0"/>
                  </a:lnTo>
                  <a:lnTo>
                    <a:pt x="3756978" y="4941260"/>
                  </a:lnTo>
                  <a:lnTo>
                    <a:pt x="0" y="4934876"/>
                  </a:lnTo>
                  <a:lnTo>
                    <a:pt x="289095" y="33624"/>
                  </a:lnTo>
                  <a:close/>
                </a:path>
              </a:pathLst>
            </a:custGeom>
            <a:solidFill>
              <a:schemeClr val="bg1">
                <a:lumMod val="95000"/>
              </a:schemeClr>
            </a:solidFill>
            <a:ln w="12700" cap="flat" cmpd="sng" algn="ctr">
              <a:noFill/>
              <a:prstDash val="solid"/>
              <a:round/>
              <a:headEnd type="none" w="med" len="med"/>
              <a:tailEnd type="none" w="med" len="med"/>
            </a:ln>
            <a:effectLst>
              <a:outerShdw blurRad="393700" dist="114300" sx="96000" sy="96000" algn="l" rotWithShape="0">
                <a:prstClr val="black">
                  <a:alpha val="36000"/>
                </a:prstClr>
              </a:outerShdw>
            </a:effectLst>
          </p:spPr>
          <p:txBody>
            <a:bodyPr vert="horz" wrap="square" lIns="91440" tIns="45720" rIns="91440" bIns="45720" numCol="1" rtlCol="0" anchor="ctr" anchorCtr="0" compatLnSpc="1">
              <a:prstTxWarp prst="textNoShape">
                <a:avLst/>
              </a:prstTxWarp>
            </a:bodyPr>
            <a:lstStyle/>
            <a:p>
              <a:endParaRPr lang="en-US" dirty="0">
                <a:latin typeface="Arial" charset="0"/>
              </a:endParaRPr>
            </a:p>
          </p:txBody>
        </p:sp>
        <p:sp>
          <p:nvSpPr>
            <p:cNvPr id="20" name="Freeform 20"/>
            <p:cNvSpPr>
              <a:spLocks/>
            </p:cNvSpPr>
            <p:nvPr/>
          </p:nvSpPr>
          <p:spPr bwMode="auto">
            <a:xfrm rot="20859947">
              <a:off x="4607764" y="3558789"/>
              <a:ext cx="1345440" cy="374157"/>
            </a:xfrm>
            <a:prstGeom prst="roundRect">
              <a:avLst>
                <a:gd name="adj" fmla="val 37103"/>
              </a:avLst>
            </a:prstGeom>
            <a:gradFill>
              <a:gsLst>
                <a:gs pos="12000">
                  <a:schemeClr val="bg1"/>
                </a:gs>
                <a:gs pos="68000">
                  <a:schemeClr val="bg1">
                    <a:lumMod val="65000"/>
                  </a:schemeClr>
                </a:gs>
              </a:gsLst>
              <a:lin ang="13500000" scaled="1"/>
            </a:gradFill>
            <a:ln w="9525">
              <a:noFill/>
              <a:round/>
              <a:headEnd/>
              <a:tailEnd/>
            </a:ln>
            <a:effectLst>
              <a:softEdge rad="31750"/>
            </a:effectLst>
          </p:spPr>
          <p:txBody>
            <a:bodyPr vert="horz" wrap="square" lIns="44451" tIns="44451" rIns="44451" bIns="44451" numCol="1" anchor="ctr" anchorCtr="0" compatLnSpc="1">
              <a:prstTxWarp prst="textNoShape">
                <a:avLst/>
              </a:prstTxWarp>
            </a:bodyPr>
            <a:lstStyle/>
            <a:p>
              <a:pPr algn="ctr"/>
              <a:endParaRPr lang="en-US" sz="5500" dirty="0">
                <a:solidFill>
                  <a:schemeClr val="bg1"/>
                </a:solidFill>
              </a:endParaRPr>
            </a:p>
          </p:txBody>
        </p:sp>
        <p:sp>
          <p:nvSpPr>
            <p:cNvPr id="21" name="Freeform 20"/>
            <p:cNvSpPr>
              <a:spLocks/>
            </p:cNvSpPr>
            <p:nvPr/>
          </p:nvSpPr>
          <p:spPr bwMode="auto">
            <a:xfrm rot="20859947">
              <a:off x="4607764" y="2598043"/>
              <a:ext cx="1345440" cy="374157"/>
            </a:xfrm>
            <a:prstGeom prst="roundRect">
              <a:avLst>
                <a:gd name="adj" fmla="val 37103"/>
              </a:avLst>
            </a:prstGeom>
            <a:gradFill>
              <a:gsLst>
                <a:gs pos="12000">
                  <a:schemeClr val="bg1"/>
                </a:gs>
                <a:gs pos="68000">
                  <a:schemeClr val="bg1">
                    <a:lumMod val="65000"/>
                  </a:schemeClr>
                </a:gs>
              </a:gsLst>
              <a:lin ang="13500000" scaled="1"/>
            </a:gradFill>
            <a:ln w="9525">
              <a:noFill/>
              <a:round/>
              <a:headEnd/>
              <a:tailEnd/>
            </a:ln>
            <a:effectLst>
              <a:softEdge rad="31750"/>
            </a:effectLst>
          </p:spPr>
          <p:txBody>
            <a:bodyPr vert="horz" wrap="square" lIns="44451" tIns="44451" rIns="44451" bIns="44451" numCol="1" anchor="ctr" anchorCtr="0" compatLnSpc="1">
              <a:prstTxWarp prst="textNoShape">
                <a:avLst/>
              </a:prstTxWarp>
            </a:bodyPr>
            <a:lstStyle/>
            <a:p>
              <a:pPr algn="ctr"/>
              <a:endParaRPr lang="en-US" sz="5500" dirty="0">
                <a:solidFill>
                  <a:schemeClr val="bg1"/>
                </a:solidFill>
              </a:endParaRPr>
            </a:p>
          </p:txBody>
        </p:sp>
        <p:sp>
          <p:nvSpPr>
            <p:cNvPr id="22" name="Freeform 20"/>
            <p:cNvSpPr>
              <a:spLocks/>
            </p:cNvSpPr>
            <p:nvPr/>
          </p:nvSpPr>
          <p:spPr bwMode="auto">
            <a:xfrm rot="21056835">
              <a:off x="4607764" y="1500784"/>
              <a:ext cx="1345440" cy="374157"/>
            </a:xfrm>
            <a:prstGeom prst="roundRect">
              <a:avLst>
                <a:gd name="adj" fmla="val 37103"/>
              </a:avLst>
            </a:prstGeom>
            <a:gradFill>
              <a:gsLst>
                <a:gs pos="12000">
                  <a:schemeClr val="bg1"/>
                </a:gs>
                <a:gs pos="68000">
                  <a:schemeClr val="bg1">
                    <a:lumMod val="65000"/>
                  </a:schemeClr>
                </a:gs>
              </a:gsLst>
              <a:lin ang="13500000" scaled="1"/>
            </a:gradFill>
            <a:ln w="9525">
              <a:noFill/>
              <a:round/>
              <a:headEnd/>
              <a:tailEnd/>
            </a:ln>
            <a:effectLst>
              <a:softEdge rad="31750"/>
            </a:effectLst>
          </p:spPr>
          <p:txBody>
            <a:bodyPr vert="horz" wrap="square" lIns="44451" tIns="44451" rIns="44451" bIns="44451" numCol="1" anchor="ctr" anchorCtr="0" compatLnSpc="1">
              <a:prstTxWarp prst="textNoShape">
                <a:avLst/>
              </a:prstTxWarp>
            </a:bodyPr>
            <a:lstStyle/>
            <a:p>
              <a:pPr algn="ctr"/>
              <a:endParaRPr lang="en-US" sz="5500" dirty="0">
                <a:solidFill>
                  <a:schemeClr val="bg1"/>
                </a:solidFill>
              </a:endParaRPr>
            </a:p>
          </p:txBody>
        </p:sp>
        <p:sp>
          <p:nvSpPr>
            <p:cNvPr id="23" name="Freeform 1555"/>
            <p:cNvSpPr>
              <a:spLocks/>
            </p:cNvSpPr>
            <p:nvPr/>
          </p:nvSpPr>
          <p:spPr bwMode="auto">
            <a:xfrm>
              <a:off x="4286939" y="735016"/>
              <a:ext cx="2084639" cy="1539813"/>
            </a:xfrm>
            <a:custGeom>
              <a:avLst/>
              <a:gdLst/>
              <a:ahLst/>
              <a:cxnLst>
                <a:cxn ang="0">
                  <a:pos x="2144" y="594"/>
                </a:cxn>
                <a:cxn ang="0">
                  <a:pos x="2126" y="581"/>
                </a:cxn>
                <a:cxn ang="0">
                  <a:pos x="2137" y="580"/>
                </a:cxn>
                <a:cxn ang="0">
                  <a:pos x="2149" y="485"/>
                </a:cxn>
                <a:cxn ang="0">
                  <a:pos x="2127" y="466"/>
                </a:cxn>
                <a:cxn ang="0">
                  <a:pos x="2135" y="462"/>
                </a:cxn>
                <a:cxn ang="0">
                  <a:pos x="2151" y="420"/>
                </a:cxn>
                <a:cxn ang="0">
                  <a:pos x="2111" y="367"/>
                </a:cxn>
                <a:cxn ang="0">
                  <a:pos x="2018" y="352"/>
                </a:cxn>
                <a:cxn ang="0">
                  <a:pos x="1979" y="341"/>
                </a:cxn>
                <a:cxn ang="0">
                  <a:pos x="1951" y="334"/>
                </a:cxn>
                <a:cxn ang="0">
                  <a:pos x="1942" y="297"/>
                </a:cxn>
                <a:cxn ang="0">
                  <a:pos x="1969" y="184"/>
                </a:cxn>
                <a:cxn ang="0">
                  <a:pos x="1973" y="102"/>
                </a:cxn>
                <a:cxn ang="0">
                  <a:pos x="1915" y="10"/>
                </a:cxn>
                <a:cxn ang="0">
                  <a:pos x="1904" y="57"/>
                </a:cxn>
                <a:cxn ang="0">
                  <a:pos x="1886" y="147"/>
                </a:cxn>
                <a:cxn ang="0">
                  <a:pos x="1848" y="207"/>
                </a:cxn>
                <a:cxn ang="0">
                  <a:pos x="1813" y="253"/>
                </a:cxn>
                <a:cxn ang="0">
                  <a:pos x="1778" y="359"/>
                </a:cxn>
                <a:cxn ang="0">
                  <a:pos x="1736" y="431"/>
                </a:cxn>
                <a:cxn ang="0">
                  <a:pos x="1697" y="442"/>
                </a:cxn>
                <a:cxn ang="0">
                  <a:pos x="1684" y="446"/>
                </a:cxn>
                <a:cxn ang="0">
                  <a:pos x="1680" y="432"/>
                </a:cxn>
                <a:cxn ang="0">
                  <a:pos x="310" y="863"/>
                </a:cxn>
                <a:cxn ang="0">
                  <a:pos x="192" y="900"/>
                </a:cxn>
                <a:cxn ang="0">
                  <a:pos x="47" y="1121"/>
                </a:cxn>
                <a:cxn ang="0">
                  <a:pos x="149" y="1507"/>
                </a:cxn>
                <a:cxn ang="0">
                  <a:pos x="294" y="1285"/>
                </a:cxn>
                <a:cxn ang="0">
                  <a:pos x="1782" y="818"/>
                </a:cxn>
                <a:cxn ang="0">
                  <a:pos x="1772" y="780"/>
                </a:cxn>
                <a:cxn ang="0">
                  <a:pos x="1780" y="778"/>
                </a:cxn>
                <a:cxn ang="0">
                  <a:pos x="1794" y="774"/>
                </a:cxn>
                <a:cxn ang="0">
                  <a:pos x="1825" y="775"/>
                </a:cxn>
                <a:cxn ang="0">
                  <a:pos x="1840" y="787"/>
                </a:cxn>
                <a:cxn ang="0">
                  <a:pos x="1893" y="802"/>
                </a:cxn>
                <a:cxn ang="0">
                  <a:pos x="2021" y="786"/>
                </a:cxn>
                <a:cxn ang="0">
                  <a:pos x="2086" y="772"/>
                </a:cxn>
                <a:cxn ang="0">
                  <a:pos x="2132" y="752"/>
                </a:cxn>
                <a:cxn ang="0">
                  <a:pos x="2139" y="743"/>
                </a:cxn>
                <a:cxn ang="0">
                  <a:pos x="2126" y="694"/>
                </a:cxn>
                <a:cxn ang="0">
                  <a:pos x="2115" y="683"/>
                </a:cxn>
                <a:cxn ang="0">
                  <a:pos x="2134" y="678"/>
                </a:cxn>
                <a:cxn ang="0">
                  <a:pos x="2144" y="594"/>
                </a:cxn>
              </a:cxnLst>
              <a:rect l="0" t="0" r="r" b="b"/>
              <a:pathLst>
                <a:path w="2182" h="1507">
                  <a:moveTo>
                    <a:pt x="2144" y="594"/>
                  </a:moveTo>
                  <a:cubicBezTo>
                    <a:pt x="2142" y="593"/>
                    <a:pt x="2125" y="583"/>
                    <a:pt x="2126" y="581"/>
                  </a:cubicBezTo>
                  <a:cubicBezTo>
                    <a:pt x="2127" y="578"/>
                    <a:pt x="2135" y="580"/>
                    <a:pt x="2137" y="580"/>
                  </a:cubicBezTo>
                  <a:cubicBezTo>
                    <a:pt x="2161" y="572"/>
                    <a:pt x="2182" y="520"/>
                    <a:pt x="2149" y="485"/>
                  </a:cubicBezTo>
                  <a:cubicBezTo>
                    <a:pt x="2147" y="482"/>
                    <a:pt x="2126" y="471"/>
                    <a:pt x="2127" y="466"/>
                  </a:cubicBezTo>
                  <a:cubicBezTo>
                    <a:pt x="2127" y="463"/>
                    <a:pt x="2134" y="463"/>
                    <a:pt x="2135" y="462"/>
                  </a:cubicBezTo>
                  <a:cubicBezTo>
                    <a:pt x="2145" y="456"/>
                    <a:pt x="2154" y="439"/>
                    <a:pt x="2151" y="420"/>
                  </a:cubicBezTo>
                  <a:cubicBezTo>
                    <a:pt x="2145" y="392"/>
                    <a:pt x="2126" y="375"/>
                    <a:pt x="2111" y="367"/>
                  </a:cubicBezTo>
                  <a:cubicBezTo>
                    <a:pt x="2082" y="351"/>
                    <a:pt x="2052" y="354"/>
                    <a:pt x="2018" y="352"/>
                  </a:cubicBezTo>
                  <a:cubicBezTo>
                    <a:pt x="2004" y="351"/>
                    <a:pt x="1989" y="345"/>
                    <a:pt x="1979" y="341"/>
                  </a:cubicBezTo>
                  <a:cubicBezTo>
                    <a:pt x="1968" y="338"/>
                    <a:pt x="1959" y="339"/>
                    <a:pt x="1951" y="334"/>
                  </a:cubicBezTo>
                  <a:cubicBezTo>
                    <a:pt x="1944" y="331"/>
                    <a:pt x="1942" y="305"/>
                    <a:pt x="1942" y="297"/>
                  </a:cubicBezTo>
                  <a:cubicBezTo>
                    <a:pt x="1943" y="252"/>
                    <a:pt x="1961" y="223"/>
                    <a:pt x="1969" y="184"/>
                  </a:cubicBezTo>
                  <a:cubicBezTo>
                    <a:pt x="1973" y="160"/>
                    <a:pt x="1976" y="130"/>
                    <a:pt x="1973" y="102"/>
                  </a:cubicBezTo>
                  <a:cubicBezTo>
                    <a:pt x="1968" y="61"/>
                    <a:pt x="1942" y="0"/>
                    <a:pt x="1915" y="10"/>
                  </a:cubicBezTo>
                  <a:cubicBezTo>
                    <a:pt x="1903" y="14"/>
                    <a:pt x="1905" y="42"/>
                    <a:pt x="1904" y="57"/>
                  </a:cubicBezTo>
                  <a:cubicBezTo>
                    <a:pt x="1902" y="96"/>
                    <a:pt x="1905" y="123"/>
                    <a:pt x="1886" y="147"/>
                  </a:cubicBezTo>
                  <a:cubicBezTo>
                    <a:pt x="1871" y="167"/>
                    <a:pt x="1864" y="188"/>
                    <a:pt x="1848" y="207"/>
                  </a:cubicBezTo>
                  <a:cubicBezTo>
                    <a:pt x="1836" y="222"/>
                    <a:pt x="1822" y="236"/>
                    <a:pt x="1813" y="253"/>
                  </a:cubicBezTo>
                  <a:cubicBezTo>
                    <a:pt x="1797" y="285"/>
                    <a:pt x="1795" y="330"/>
                    <a:pt x="1778" y="359"/>
                  </a:cubicBezTo>
                  <a:cubicBezTo>
                    <a:pt x="1764" y="382"/>
                    <a:pt x="1759" y="414"/>
                    <a:pt x="1736" y="431"/>
                  </a:cubicBezTo>
                  <a:cubicBezTo>
                    <a:pt x="1736" y="431"/>
                    <a:pt x="1697" y="441"/>
                    <a:pt x="1697" y="442"/>
                  </a:cubicBezTo>
                  <a:cubicBezTo>
                    <a:pt x="1693" y="443"/>
                    <a:pt x="1688" y="445"/>
                    <a:pt x="1684" y="446"/>
                  </a:cubicBezTo>
                  <a:cubicBezTo>
                    <a:pt x="1680" y="432"/>
                    <a:pt x="1680" y="432"/>
                    <a:pt x="1680" y="432"/>
                  </a:cubicBezTo>
                  <a:cubicBezTo>
                    <a:pt x="310" y="863"/>
                    <a:pt x="310" y="863"/>
                    <a:pt x="310" y="863"/>
                  </a:cubicBezTo>
                  <a:cubicBezTo>
                    <a:pt x="192" y="900"/>
                    <a:pt x="192" y="900"/>
                    <a:pt x="192" y="900"/>
                  </a:cubicBezTo>
                  <a:cubicBezTo>
                    <a:pt x="192" y="900"/>
                    <a:pt x="0" y="943"/>
                    <a:pt x="47" y="1121"/>
                  </a:cubicBezTo>
                  <a:cubicBezTo>
                    <a:pt x="149" y="1507"/>
                    <a:pt x="149" y="1507"/>
                    <a:pt x="149" y="1507"/>
                  </a:cubicBezTo>
                  <a:cubicBezTo>
                    <a:pt x="102" y="1329"/>
                    <a:pt x="294" y="1285"/>
                    <a:pt x="294" y="1285"/>
                  </a:cubicBezTo>
                  <a:cubicBezTo>
                    <a:pt x="1782" y="818"/>
                    <a:pt x="1782" y="818"/>
                    <a:pt x="1782" y="818"/>
                  </a:cubicBezTo>
                  <a:cubicBezTo>
                    <a:pt x="1772" y="780"/>
                    <a:pt x="1772" y="780"/>
                    <a:pt x="1772" y="780"/>
                  </a:cubicBezTo>
                  <a:cubicBezTo>
                    <a:pt x="1774" y="779"/>
                    <a:pt x="1777" y="779"/>
                    <a:pt x="1780" y="778"/>
                  </a:cubicBezTo>
                  <a:cubicBezTo>
                    <a:pt x="1784" y="776"/>
                    <a:pt x="1789" y="775"/>
                    <a:pt x="1794" y="774"/>
                  </a:cubicBezTo>
                  <a:cubicBezTo>
                    <a:pt x="1804" y="773"/>
                    <a:pt x="1815" y="772"/>
                    <a:pt x="1825" y="775"/>
                  </a:cubicBezTo>
                  <a:cubicBezTo>
                    <a:pt x="1831" y="777"/>
                    <a:pt x="1835" y="784"/>
                    <a:pt x="1840" y="787"/>
                  </a:cubicBezTo>
                  <a:cubicBezTo>
                    <a:pt x="1853" y="793"/>
                    <a:pt x="1880" y="805"/>
                    <a:pt x="1893" y="802"/>
                  </a:cubicBezTo>
                  <a:cubicBezTo>
                    <a:pt x="1924" y="796"/>
                    <a:pt x="2007" y="790"/>
                    <a:pt x="2021" y="786"/>
                  </a:cubicBezTo>
                  <a:cubicBezTo>
                    <a:pt x="2025" y="785"/>
                    <a:pt x="2072" y="775"/>
                    <a:pt x="2086" y="772"/>
                  </a:cubicBezTo>
                  <a:cubicBezTo>
                    <a:pt x="2089" y="772"/>
                    <a:pt x="2123" y="763"/>
                    <a:pt x="2132" y="752"/>
                  </a:cubicBezTo>
                  <a:cubicBezTo>
                    <a:pt x="2135" y="749"/>
                    <a:pt x="2137" y="746"/>
                    <a:pt x="2139" y="743"/>
                  </a:cubicBezTo>
                  <a:cubicBezTo>
                    <a:pt x="2143" y="733"/>
                    <a:pt x="2147" y="716"/>
                    <a:pt x="2126" y="694"/>
                  </a:cubicBezTo>
                  <a:cubicBezTo>
                    <a:pt x="2125" y="693"/>
                    <a:pt x="2114" y="686"/>
                    <a:pt x="2115" y="683"/>
                  </a:cubicBezTo>
                  <a:cubicBezTo>
                    <a:pt x="2116" y="681"/>
                    <a:pt x="2132" y="678"/>
                    <a:pt x="2134" y="678"/>
                  </a:cubicBezTo>
                  <a:cubicBezTo>
                    <a:pt x="2161" y="669"/>
                    <a:pt x="2170" y="608"/>
                    <a:pt x="2144" y="594"/>
                  </a:cubicBezTo>
                  <a:close/>
                </a:path>
              </a:pathLst>
            </a:custGeom>
            <a:solidFill>
              <a:srgbClr val="048CB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556"/>
            <p:cNvSpPr>
              <a:spLocks noEditPoints="1"/>
            </p:cNvSpPr>
            <p:nvPr/>
          </p:nvSpPr>
          <p:spPr bwMode="auto">
            <a:xfrm>
              <a:off x="4331251" y="1638360"/>
              <a:ext cx="2194410" cy="1716051"/>
            </a:xfrm>
            <a:custGeom>
              <a:avLst/>
              <a:gdLst/>
              <a:ahLst/>
              <a:cxnLst>
                <a:cxn ang="0">
                  <a:pos x="2272" y="423"/>
                </a:cxn>
                <a:cxn ang="0">
                  <a:pos x="2251" y="399"/>
                </a:cxn>
                <a:cxn ang="0">
                  <a:pos x="2210" y="347"/>
                </a:cxn>
                <a:cxn ang="0">
                  <a:pos x="2153" y="320"/>
                </a:cxn>
                <a:cxn ang="0">
                  <a:pos x="2057" y="295"/>
                </a:cxn>
                <a:cxn ang="0">
                  <a:pos x="2026" y="308"/>
                </a:cxn>
                <a:cxn ang="0">
                  <a:pos x="1964" y="313"/>
                </a:cxn>
                <a:cxn ang="0">
                  <a:pos x="2033" y="217"/>
                </a:cxn>
                <a:cxn ang="0">
                  <a:pos x="2122" y="167"/>
                </a:cxn>
                <a:cxn ang="0">
                  <a:pos x="2207" y="146"/>
                </a:cxn>
                <a:cxn ang="0">
                  <a:pos x="2227" y="81"/>
                </a:cxn>
                <a:cxn ang="0">
                  <a:pos x="2199" y="82"/>
                </a:cxn>
                <a:cxn ang="0">
                  <a:pos x="2059" y="106"/>
                </a:cxn>
                <a:cxn ang="0">
                  <a:pos x="2092" y="80"/>
                </a:cxn>
                <a:cxn ang="0">
                  <a:pos x="2117" y="23"/>
                </a:cxn>
                <a:cxn ang="0">
                  <a:pos x="2051" y="33"/>
                </a:cxn>
                <a:cxn ang="0">
                  <a:pos x="1928" y="109"/>
                </a:cxn>
                <a:cxn ang="0">
                  <a:pos x="1907" y="64"/>
                </a:cxn>
                <a:cxn ang="0">
                  <a:pos x="1884" y="92"/>
                </a:cxn>
                <a:cxn ang="0">
                  <a:pos x="1863" y="114"/>
                </a:cxn>
                <a:cxn ang="0">
                  <a:pos x="1809" y="192"/>
                </a:cxn>
                <a:cxn ang="0">
                  <a:pos x="1782" y="268"/>
                </a:cxn>
                <a:cxn ang="0">
                  <a:pos x="1748" y="490"/>
                </a:cxn>
                <a:cxn ang="0">
                  <a:pos x="1701" y="637"/>
                </a:cxn>
                <a:cxn ang="0">
                  <a:pos x="310" y="1020"/>
                </a:cxn>
                <a:cxn ang="0">
                  <a:pos x="62" y="1289"/>
                </a:cxn>
                <a:cxn ang="0">
                  <a:pos x="327" y="1451"/>
                </a:cxn>
                <a:cxn ang="0">
                  <a:pos x="1787" y="888"/>
                </a:cxn>
                <a:cxn ang="0">
                  <a:pos x="1912" y="827"/>
                </a:cxn>
                <a:cxn ang="0">
                  <a:pos x="2195" y="631"/>
                </a:cxn>
                <a:cxn ang="0">
                  <a:pos x="2242" y="573"/>
                </a:cxn>
                <a:cxn ang="0">
                  <a:pos x="2257" y="538"/>
                </a:cxn>
                <a:cxn ang="0">
                  <a:pos x="2280" y="462"/>
                </a:cxn>
                <a:cxn ang="0">
                  <a:pos x="2153" y="507"/>
                </a:cxn>
                <a:cxn ang="0">
                  <a:pos x="2121" y="541"/>
                </a:cxn>
                <a:cxn ang="0">
                  <a:pos x="2033" y="576"/>
                </a:cxn>
                <a:cxn ang="0">
                  <a:pos x="1989" y="554"/>
                </a:cxn>
                <a:cxn ang="0">
                  <a:pos x="1954" y="498"/>
                </a:cxn>
                <a:cxn ang="0">
                  <a:pos x="1985" y="439"/>
                </a:cxn>
                <a:cxn ang="0">
                  <a:pos x="2046" y="428"/>
                </a:cxn>
                <a:cxn ang="0">
                  <a:pos x="2096" y="402"/>
                </a:cxn>
                <a:cxn ang="0">
                  <a:pos x="2170" y="411"/>
                </a:cxn>
                <a:cxn ang="0">
                  <a:pos x="2217" y="454"/>
                </a:cxn>
                <a:cxn ang="0">
                  <a:pos x="2186" y="481"/>
                </a:cxn>
              </a:cxnLst>
              <a:rect l="0" t="0" r="r" b="b"/>
              <a:pathLst>
                <a:path w="2298" h="1680">
                  <a:moveTo>
                    <a:pt x="2280" y="462"/>
                  </a:moveTo>
                  <a:cubicBezTo>
                    <a:pt x="2298" y="455"/>
                    <a:pt x="2278" y="431"/>
                    <a:pt x="2272" y="423"/>
                  </a:cubicBezTo>
                  <a:cubicBezTo>
                    <a:pt x="2269" y="419"/>
                    <a:pt x="2266" y="414"/>
                    <a:pt x="2262" y="410"/>
                  </a:cubicBezTo>
                  <a:cubicBezTo>
                    <a:pt x="2258" y="406"/>
                    <a:pt x="2254" y="403"/>
                    <a:pt x="2251" y="399"/>
                  </a:cubicBezTo>
                  <a:cubicBezTo>
                    <a:pt x="2248" y="394"/>
                    <a:pt x="2245" y="389"/>
                    <a:pt x="2242" y="384"/>
                  </a:cubicBezTo>
                  <a:cubicBezTo>
                    <a:pt x="2234" y="371"/>
                    <a:pt x="2224" y="355"/>
                    <a:pt x="2210" y="347"/>
                  </a:cubicBezTo>
                  <a:cubicBezTo>
                    <a:pt x="2206" y="345"/>
                    <a:pt x="2200" y="344"/>
                    <a:pt x="2195" y="341"/>
                  </a:cubicBezTo>
                  <a:cubicBezTo>
                    <a:pt x="2181" y="335"/>
                    <a:pt x="2167" y="327"/>
                    <a:pt x="2153" y="320"/>
                  </a:cubicBezTo>
                  <a:cubicBezTo>
                    <a:pt x="2134" y="311"/>
                    <a:pt x="2114" y="298"/>
                    <a:pt x="2094" y="293"/>
                  </a:cubicBezTo>
                  <a:cubicBezTo>
                    <a:pt x="2082" y="290"/>
                    <a:pt x="2068" y="290"/>
                    <a:pt x="2057" y="295"/>
                  </a:cubicBezTo>
                  <a:cubicBezTo>
                    <a:pt x="2055" y="296"/>
                    <a:pt x="2053" y="298"/>
                    <a:pt x="2050" y="299"/>
                  </a:cubicBezTo>
                  <a:cubicBezTo>
                    <a:pt x="2043" y="303"/>
                    <a:pt x="2034" y="305"/>
                    <a:pt x="2026" y="308"/>
                  </a:cubicBezTo>
                  <a:cubicBezTo>
                    <a:pt x="2003" y="316"/>
                    <a:pt x="1982" y="324"/>
                    <a:pt x="1960" y="332"/>
                  </a:cubicBezTo>
                  <a:cubicBezTo>
                    <a:pt x="1961" y="327"/>
                    <a:pt x="1964" y="320"/>
                    <a:pt x="1964" y="313"/>
                  </a:cubicBezTo>
                  <a:cubicBezTo>
                    <a:pt x="1981" y="302"/>
                    <a:pt x="1994" y="287"/>
                    <a:pt x="2005" y="271"/>
                  </a:cubicBezTo>
                  <a:cubicBezTo>
                    <a:pt x="2017" y="256"/>
                    <a:pt x="2028" y="238"/>
                    <a:pt x="2033" y="217"/>
                  </a:cubicBezTo>
                  <a:cubicBezTo>
                    <a:pt x="2060" y="204"/>
                    <a:pt x="2085" y="188"/>
                    <a:pt x="2111" y="173"/>
                  </a:cubicBezTo>
                  <a:cubicBezTo>
                    <a:pt x="2115" y="172"/>
                    <a:pt x="2119" y="168"/>
                    <a:pt x="2122" y="167"/>
                  </a:cubicBezTo>
                  <a:cubicBezTo>
                    <a:pt x="2127" y="166"/>
                    <a:pt x="2133" y="167"/>
                    <a:pt x="2139" y="166"/>
                  </a:cubicBezTo>
                  <a:cubicBezTo>
                    <a:pt x="2165" y="163"/>
                    <a:pt x="2189" y="156"/>
                    <a:pt x="2207" y="146"/>
                  </a:cubicBezTo>
                  <a:cubicBezTo>
                    <a:pt x="2222" y="138"/>
                    <a:pt x="2239" y="127"/>
                    <a:pt x="2238" y="105"/>
                  </a:cubicBezTo>
                  <a:cubicBezTo>
                    <a:pt x="2237" y="97"/>
                    <a:pt x="2233" y="84"/>
                    <a:pt x="2227" y="81"/>
                  </a:cubicBezTo>
                  <a:cubicBezTo>
                    <a:pt x="2226" y="80"/>
                    <a:pt x="2220" y="79"/>
                    <a:pt x="2219" y="79"/>
                  </a:cubicBezTo>
                  <a:cubicBezTo>
                    <a:pt x="2213" y="78"/>
                    <a:pt x="2205" y="80"/>
                    <a:pt x="2199" y="82"/>
                  </a:cubicBezTo>
                  <a:cubicBezTo>
                    <a:pt x="2185" y="85"/>
                    <a:pt x="2174" y="89"/>
                    <a:pt x="2160" y="90"/>
                  </a:cubicBezTo>
                  <a:cubicBezTo>
                    <a:pt x="2124" y="92"/>
                    <a:pt x="2087" y="97"/>
                    <a:pt x="2059" y="106"/>
                  </a:cubicBezTo>
                  <a:cubicBezTo>
                    <a:pt x="2058" y="104"/>
                    <a:pt x="2061" y="103"/>
                    <a:pt x="2063" y="101"/>
                  </a:cubicBezTo>
                  <a:cubicBezTo>
                    <a:pt x="2072" y="94"/>
                    <a:pt x="2082" y="87"/>
                    <a:pt x="2092" y="80"/>
                  </a:cubicBezTo>
                  <a:cubicBezTo>
                    <a:pt x="2096" y="78"/>
                    <a:pt x="2102" y="75"/>
                    <a:pt x="2104" y="71"/>
                  </a:cubicBezTo>
                  <a:cubicBezTo>
                    <a:pt x="2111" y="60"/>
                    <a:pt x="2121" y="41"/>
                    <a:pt x="2117" y="23"/>
                  </a:cubicBezTo>
                  <a:cubicBezTo>
                    <a:pt x="2115" y="12"/>
                    <a:pt x="2104" y="0"/>
                    <a:pt x="2088" y="4"/>
                  </a:cubicBezTo>
                  <a:cubicBezTo>
                    <a:pt x="2073" y="8"/>
                    <a:pt x="2062" y="24"/>
                    <a:pt x="2051" y="33"/>
                  </a:cubicBezTo>
                  <a:cubicBezTo>
                    <a:pt x="2040" y="43"/>
                    <a:pt x="2023" y="51"/>
                    <a:pt x="2010" y="58"/>
                  </a:cubicBezTo>
                  <a:cubicBezTo>
                    <a:pt x="1979" y="74"/>
                    <a:pt x="1954" y="94"/>
                    <a:pt x="1928" y="109"/>
                  </a:cubicBezTo>
                  <a:cubicBezTo>
                    <a:pt x="1933" y="96"/>
                    <a:pt x="1933" y="77"/>
                    <a:pt x="1921" y="69"/>
                  </a:cubicBezTo>
                  <a:cubicBezTo>
                    <a:pt x="1918" y="66"/>
                    <a:pt x="1912" y="63"/>
                    <a:pt x="1907" y="64"/>
                  </a:cubicBezTo>
                  <a:cubicBezTo>
                    <a:pt x="1902" y="65"/>
                    <a:pt x="1894" y="78"/>
                    <a:pt x="1891" y="82"/>
                  </a:cubicBezTo>
                  <a:cubicBezTo>
                    <a:pt x="1889" y="85"/>
                    <a:pt x="1886" y="88"/>
                    <a:pt x="1884" y="92"/>
                  </a:cubicBezTo>
                  <a:cubicBezTo>
                    <a:pt x="1882" y="95"/>
                    <a:pt x="1880" y="99"/>
                    <a:pt x="1877" y="102"/>
                  </a:cubicBezTo>
                  <a:cubicBezTo>
                    <a:pt x="1873" y="107"/>
                    <a:pt x="1867" y="110"/>
                    <a:pt x="1863" y="114"/>
                  </a:cubicBezTo>
                  <a:cubicBezTo>
                    <a:pt x="1849" y="127"/>
                    <a:pt x="1839" y="142"/>
                    <a:pt x="1829" y="159"/>
                  </a:cubicBezTo>
                  <a:cubicBezTo>
                    <a:pt x="1823" y="170"/>
                    <a:pt x="1817" y="182"/>
                    <a:pt x="1809" y="192"/>
                  </a:cubicBezTo>
                  <a:cubicBezTo>
                    <a:pt x="1802" y="202"/>
                    <a:pt x="1793" y="211"/>
                    <a:pt x="1787" y="222"/>
                  </a:cubicBezTo>
                  <a:cubicBezTo>
                    <a:pt x="1781" y="234"/>
                    <a:pt x="1782" y="250"/>
                    <a:pt x="1782" y="268"/>
                  </a:cubicBezTo>
                  <a:cubicBezTo>
                    <a:pt x="1783" y="319"/>
                    <a:pt x="1777" y="364"/>
                    <a:pt x="1771" y="410"/>
                  </a:cubicBezTo>
                  <a:cubicBezTo>
                    <a:pt x="1766" y="438"/>
                    <a:pt x="1757" y="464"/>
                    <a:pt x="1748" y="490"/>
                  </a:cubicBezTo>
                  <a:cubicBezTo>
                    <a:pt x="1739" y="516"/>
                    <a:pt x="1730" y="542"/>
                    <a:pt x="1723" y="568"/>
                  </a:cubicBezTo>
                  <a:cubicBezTo>
                    <a:pt x="1716" y="591"/>
                    <a:pt x="1710" y="615"/>
                    <a:pt x="1701" y="637"/>
                  </a:cubicBezTo>
                  <a:cubicBezTo>
                    <a:pt x="1672" y="552"/>
                    <a:pt x="1672" y="552"/>
                    <a:pt x="1672" y="552"/>
                  </a:cubicBezTo>
                  <a:cubicBezTo>
                    <a:pt x="310" y="1020"/>
                    <a:pt x="310" y="1020"/>
                    <a:pt x="310" y="1020"/>
                  </a:cubicBezTo>
                  <a:cubicBezTo>
                    <a:pt x="193" y="1060"/>
                    <a:pt x="193" y="1060"/>
                    <a:pt x="193" y="1060"/>
                  </a:cubicBezTo>
                  <a:cubicBezTo>
                    <a:pt x="193" y="1060"/>
                    <a:pt x="0" y="1108"/>
                    <a:pt x="62" y="1289"/>
                  </a:cubicBezTo>
                  <a:cubicBezTo>
                    <a:pt x="197" y="1680"/>
                    <a:pt x="197" y="1680"/>
                    <a:pt x="197" y="1680"/>
                  </a:cubicBezTo>
                  <a:cubicBezTo>
                    <a:pt x="135" y="1499"/>
                    <a:pt x="327" y="1451"/>
                    <a:pt x="327" y="1451"/>
                  </a:cubicBezTo>
                  <a:cubicBezTo>
                    <a:pt x="1806" y="943"/>
                    <a:pt x="1806" y="943"/>
                    <a:pt x="1806" y="943"/>
                  </a:cubicBezTo>
                  <a:cubicBezTo>
                    <a:pt x="1787" y="888"/>
                    <a:pt x="1787" y="888"/>
                    <a:pt x="1787" y="888"/>
                  </a:cubicBezTo>
                  <a:cubicBezTo>
                    <a:pt x="1811" y="867"/>
                    <a:pt x="1839" y="850"/>
                    <a:pt x="1872" y="841"/>
                  </a:cubicBezTo>
                  <a:cubicBezTo>
                    <a:pt x="1887" y="837"/>
                    <a:pt x="1899" y="833"/>
                    <a:pt x="1912" y="827"/>
                  </a:cubicBezTo>
                  <a:cubicBezTo>
                    <a:pt x="1947" y="810"/>
                    <a:pt x="1981" y="788"/>
                    <a:pt x="2012" y="767"/>
                  </a:cubicBezTo>
                  <a:cubicBezTo>
                    <a:pt x="2076" y="724"/>
                    <a:pt x="2134" y="677"/>
                    <a:pt x="2195" y="631"/>
                  </a:cubicBezTo>
                  <a:cubicBezTo>
                    <a:pt x="2211" y="620"/>
                    <a:pt x="2225" y="609"/>
                    <a:pt x="2235" y="592"/>
                  </a:cubicBezTo>
                  <a:cubicBezTo>
                    <a:pt x="2238" y="586"/>
                    <a:pt x="2241" y="579"/>
                    <a:pt x="2242" y="573"/>
                  </a:cubicBezTo>
                  <a:cubicBezTo>
                    <a:pt x="2243" y="571"/>
                    <a:pt x="2242" y="566"/>
                    <a:pt x="2243" y="563"/>
                  </a:cubicBezTo>
                  <a:cubicBezTo>
                    <a:pt x="2245" y="553"/>
                    <a:pt x="2251" y="545"/>
                    <a:pt x="2257" y="538"/>
                  </a:cubicBezTo>
                  <a:cubicBezTo>
                    <a:pt x="2269" y="525"/>
                    <a:pt x="2291" y="514"/>
                    <a:pt x="2292" y="492"/>
                  </a:cubicBezTo>
                  <a:cubicBezTo>
                    <a:pt x="2293" y="479"/>
                    <a:pt x="2288" y="471"/>
                    <a:pt x="2280" y="462"/>
                  </a:cubicBezTo>
                  <a:close/>
                  <a:moveTo>
                    <a:pt x="2186" y="481"/>
                  </a:moveTo>
                  <a:cubicBezTo>
                    <a:pt x="2174" y="488"/>
                    <a:pt x="2161" y="496"/>
                    <a:pt x="2153" y="507"/>
                  </a:cubicBezTo>
                  <a:cubicBezTo>
                    <a:pt x="2150" y="512"/>
                    <a:pt x="2148" y="519"/>
                    <a:pt x="2144" y="524"/>
                  </a:cubicBezTo>
                  <a:cubicBezTo>
                    <a:pt x="2139" y="530"/>
                    <a:pt x="2130" y="536"/>
                    <a:pt x="2121" y="541"/>
                  </a:cubicBezTo>
                  <a:cubicBezTo>
                    <a:pt x="2104" y="551"/>
                    <a:pt x="2085" y="560"/>
                    <a:pt x="2066" y="568"/>
                  </a:cubicBezTo>
                  <a:cubicBezTo>
                    <a:pt x="2057" y="572"/>
                    <a:pt x="2044" y="576"/>
                    <a:pt x="2033" y="576"/>
                  </a:cubicBezTo>
                  <a:cubicBezTo>
                    <a:pt x="2022" y="576"/>
                    <a:pt x="2017" y="568"/>
                    <a:pt x="2008" y="564"/>
                  </a:cubicBezTo>
                  <a:cubicBezTo>
                    <a:pt x="2001" y="560"/>
                    <a:pt x="1995" y="559"/>
                    <a:pt x="1989" y="554"/>
                  </a:cubicBezTo>
                  <a:cubicBezTo>
                    <a:pt x="1983" y="550"/>
                    <a:pt x="1978" y="545"/>
                    <a:pt x="1974" y="540"/>
                  </a:cubicBezTo>
                  <a:cubicBezTo>
                    <a:pt x="1966" y="530"/>
                    <a:pt x="1956" y="513"/>
                    <a:pt x="1954" y="498"/>
                  </a:cubicBezTo>
                  <a:cubicBezTo>
                    <a:pt x="1952" y="487"/>
                    <a:pt x="1955" y="477"/>
                    <a:pt x="1958" y="468"/>
                  </a:cubicBezTo>
                  <a:cubicBezTo>
                    <a:pt x="1963" y="454"/>
                    <a:pt x="1970" y="442"/>
                    <a:pt x="1985" y="439"/>
                  </a:cubicBezTo>
                  <a:cubicBezTo>
                    <a:pt x="1991" y="438"/>
                    <a:pt x="1996" y="439"/>
                    <a:pt x="2001" y="439"/>
                  </a:cubicBezTo>
                  <a:cubicBezTo>
                    <a:pt x="2020" y="440"/>
                    <a:pt x="2033" y="434"/>
                    <a:pt x="2046" y="428"/>
                  </a:cubicBezTo>
                  <a:cubicBezTo>
                    <a:pt x="2059" y="421"/>
                    <a:pt x="2070" y="414"/>
                    <a:pt x="2082" y="408"/>
                  </a:cubicBezTo>
                  <a:cubicBezTo>
                    <a:pt x="2086" y="405"/>
                    <a:pt x="2092" y="400"/>
                    <a:pt x="2096" y="402"/>
                  </a:cubicBezTo>
                  <a:cubicBezTo>
                    <a:pt x="2114" y="409"/>
                    <a:pt x="2134" y="417"/>
                    <a:pt x="2157" y="413"/>
                  </a:cubicBezTo>
                  <a:cubicBezTo>
                    <a:pt x="2161" y="413"/>
                    <a:pt x="2165" y="410"/>
                    <a:pt x="2170" y="411"/>
                  </a:cubicBezTo>
                  <a:cubicBezTo>
                    <a:pt x="2174" y="412"/>
                    <a:pt x="2179" y="419"/>
                    <a:pt x="2183" y="423"/>
                  </a:cubicBezTo>
                  <a:cubicBezTo>
                    <a:pt x="2195" y="435"/>
                    <a:pt x="2205" y="444"/>
                    <a:pt x="2217" y="454"/>
                  </a:cubicBezTo>
                  <a:cubicBezTo>
                    <a:pt x="2219" y="455"/>
                    <a:pt x="2223" y="457"/>
                    <a:pt x="2223" y="459"/>
                  </a:cubicBezTo>
                  <a:cubicBezTo>
                    <a:pt x="2210" y="467"/>
                    <a:pt x="2197" y="473"/>
                    <a:pt x="2186" y="481"/>
                  </a:cubicBezTo>
                  <a:close/>
                </a:path>
              </a:pathLst>
            </a:custGeom>
            <a:gradFill flip="none" rotWithShape="1">
              <a:gsLst>
                <a:gs pos="0">
                  <a:srgbClr val="36A3C9">
                    <a:tint val="66000"/>
                    <a:satMod val="160000"/>
                  </a:srgbClr>
                </a:gs>
                <a:gs pos="50000">
                  <a:srgbClr val="36A3C9">
                    <a:tint val="44500"/>
                    <a:satMod val="160000"/>
                  </a:srgbClr>
                </a:gs>
                <a:gs pos="100000">
                  <a:srgbClr val="36A3C9">
                    <a:tint val="23500"/>
                    <a:satMod val="160000"/>
                  </a:srgbClr>
                </a:gs>
              </a:gsLst>
              <a:lin ang="108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57"/>
            <p:cNvSpPr>
              <a:spLocks/>
            </p:cNvSpPr>
            <p:nvPr/>
          </p:nvSpPr>
          <p:spPr bwMode="auto">
            <a:xfrm>
              <a:off x="4366498" y="2807570"/>
              <a:ext cx="2449199" cy="1489460"/>
            </a:xfrm>
            <a:custGeom>
              <a:avLst/>
              <a:gdLst/>
              <a:ahLst/>
              <a:cxnLst>
                <a:cxn ang="0">
                  <a:pos x="2553" y="523"/>
                </a:cxn>
                <a:cxn ang="0">
                  <a:pos x="2529" y="507"/>
                </a:cxn>
                <a:cxn ang="0">
                  <a:pos x="2405" y="478"/>
                </a:cxn>
                <a:cxn ang="0">
                  <a:pos x="2302" y="467"/>
                </a:cxn>
                <a:cxn ang="0">
                  <a:pos x="2268" y="460"/>
                </a:cxn>
                <a:cxn ang="0">
                  <a:pos x="2300" y="446"/>
                </a:cxn>
                <a:cxn ang="0">
                  <a:pos x="2336" y="443"/>
                </a:cxn>
                <a:cxn ang="0">
                  <a:pos x="2530" y="431"/>
                </a:cxn>
                <a:cxn ang="0">
                  <a:pos x="2545" y="386"/>
                </a:cxn>
                <a:cxn ang="0">
                  <a:pos x="2443" y="355"/>
                </a:cxn>
                <a:cxn ang="0">
                  <a:pos x="2354" y="348"/>
                </a:cxn>
                <a:cxn ang="0">
                  <a:pos x="2149" y="323"/>
                </a:cxn>
                <a:cxn ang="0">
                  <a:pos x="2029" y="241"/>
                </a:cxn>
                <a:cxn ang="0">
                  <a:pos x="2123" y="64"/>
                </a:cxn>
                <a:cxn ang="0">
                  <a:pos x="2065" y="19"/>
                </a:cxn>
                <a:cxn ang="0">
                  <a:pos x="2047" y="50"/>
                </a:cxn>
                <a:cxn ang="0">
                  <a:pos x="1853" y="212"/>
                </a:cxn>
                <a:cxn ang="0">
                  <a:pos x="1734" y="333"/>
                </a:cxn>
                <a:cxn ang="0">
                  <a:pos x="1697" y="353"/>
                </a:cxn>
                <a:cxn ang="0">
                  <a:pos x="1681" y="358"/>
                </a:cxn>
                <a:cxn ang="0">
                  <a:pos x="1671" y="330"/>
                </a:cxn>
                <a:cxn ang="0">
                  <a:pos x="309" y="798"/>
                </a:cxn>
                <a:cxn ang="0">
                  <a:pos x="192" y="838"/>
                </a:cxn>
                <a:cxn ang="0">
                  <a:pos x="62" y="1067"/>
                </a:cxn>
                <a:cxn ang="0">
                  <a:pos x="196" y="1458"/>
                </a:cxn>
                <a:cxn ang="0">
                  <a:pos x="327" y="1229"/>
                </a:cxn>
                <a:cxn ang="0">
                  <a:pos x="1806" y="721"/>
                </a:cxn>
                <a:cxn ang="0">
                  <a:pos x="1798" y="700"/>
                </a:cxn>
                <a:cxn ang="0">
                  <a:pos x="1827" y="692"/>
                </a:cxn>
                <a:cxn ang="0">
                  <a:pos x="1839" y="692"/>
                </a:cxn>
                <a:cxn ang="0">
                  <a:pos x="1944" y="719"/>
                </a:cxn>
                <a:cxn ang="0">
                  <a:pos x="2140" y="786"/>
                </a:cxn>
                <a:cxn ang="0">
                  <a:pos x="2234" y="824"/>
                </a:cxn>
                <a:cxn ang="0">
                  <a:pos x="2335" y="825"/>
                </a:cxn>
                <a:cxn ang="0">
                  <a:pos x="2182" y="694"/>
                </a:cxn>
                <a:cxn ang="0">
                  <a:pos x="2186" y="670"/>
                </a:cxn>
                <a:cxn ang="0">
                  <a:pos x="2305" y="703"/>
                </a:cxn>
                <a:cxn ang="0">
                  <a:pos x="2389" y="700"/>
                </a:cxn>
                <a:cxn ang="0">
                  <a:pos x="2493" y="684"/>
                </a:cxn>
                <a:cxn ang="0">
                  <a:pos x="2441" y="638"/>
                </a:cxn>
                <a:cxn ang="0">
                  <a:pos x="2250" y="586"/>
                </a:cxn>
                <a:cxn ang="0">
                  <a:pos x="2318" y="570"/>
                </a:cxn>
                <a:cxn ang="0">
                  <a:pos x="2487" y="565"/>
                </a:cxn>
                <a:cxn ang="0">
                  <a:pos x="2532" y="576"/>
                </a:cxn>
                <a:cxn ang="0">
                  <a:pos x="2553" y="523"/>
                </a:cxn>
              </a:cxnLst>
              <a:rect l="0" t="0" r="r" b="b"/>
              <a:pathLst>
                <a:path w="2565" h="1458">
                  <a:moveTo>
                    <a:pt x="2553" y="523"/>
                  </a:moveTo>
                  <a:cubicBezTo>
                    <a:pt x="2547" y="515"/>
                    <a:pt x="2537" y="512"/>
                    <a:pt x="2529" y="507"/>
                  </a:cubicBezTo>
                  <a:cubicBezTo>
                    <a:pt x="2492" y="483"/>
                    <a:pt x="2449" y="484"/>
                    <a:pt x="2405" y="478"/>
                  </a:cubicBezTo>
                  <a:cubicBezTo>
                    <a:pt x="2371" y="473"/>
                    <a:pt x="2338" y="468"/>
                    <a:pt x="2302" y="467"/>
                  </a:cubicBezTo>
                  <a:cubicBezTo>
                    <a:pt x="2299" y="466"/>
                    <a:pt x="2269" y="472"/>
                    <a:pt x="2268" y="460"/>
                  </a:cubicBezTo>
                  <a:cubicBezTo>
                    <a:pt x="2267" y="446"/>
                    <a:pt x="2293" y="446"/>
                    <a:pt x="2300" y="446"/>
                  </a:cubicBezTo>
                  <a:cubicBezTo>
                    <a:pt x="2314" y="446"/>
                    <a:pt x="2325" y="444"/>
                    <a:pt x="2336" y="443"/>
                  </a:cubicBezTo>
                  <a:cubicBezTo>
                    <a:pt x="2405" y="435"/>
                    <a:pt x="2470" y="427"/>
                    <a:pt x="2530" y="431"/>
                  </a:cubicBezTo>
                  <a:cubicBezTo>
                    <a:pt x="2541" y="425"/>
                    <a:pt x="2551" y="404"/>
                    <a:pt x="2545" y="386"/>
                  </a:cubicBezTo>
                  <a:cubicBezTo>
                    <a:pt x="2523" y="353"/>
                    <a:pt x="2473" y="356"/>
                    <a:pt x="2443" y="355"/>
                  </a:cubicBezTo>
                  <a:cubicBezTo>
                    <a:pt x="2414" y="354"/>
                    <a:pt x="2385" y="347"/>
                    <a:pt x="2354" y="348"/>
                  </a:cubicBezTo>
                  <a:cubicBezTo>
                    <a:pt x="2293" y="349"/>
                    <a:pt x="2234" y="348"/>
                    <a:pt x="2149" y="323"/>
                  </a:cubicBezTo>
                  <a:cubicBezTo>
                    <a:pt x="2102" y="310"/>
                    <a:pt x="2024" y="284"/>
                    <a:pt x="2029" y="241"/>
                  </a:cubicBezTo>
                  <a:cubicBezTo>
                    <a:pt x="2037" y="164"/>
                    <a:pt x="2138" y="150"/>
                    <a:pt x="2123" y="64"/>
                  </a:cubicBezTo>
                  <a:cubicBezTo>
                    <a:pt x="2120" y="47"/>
                    <a:pt x="2092" y="0"/>
                    <a:pt x="2065" y="19"/>
                  </a:cubicBezTo>
                  <a:cubicBezTo>
                    <a:pt x="2056" y="25"/>
                    <a:pt x="2053" y="39"/>
                    <a:pt x="2047" y="50"/>
                  </a:cubicBezTo>
                  <a:cubicBezTo>
                    <a:pt x="2003" y="121"/>
                    <a:pt x="1914" y="137"/>
                    <a:pt x="1853" y="212"/>
                  </a:cubicBezTo>
                  <a:cubicBezTo>
                    <a:pt x="1822" y="251"/>
                    <a:pt x="1781" y="308"/>
                    <a:pt x="1734" y="333"/>
                  </a:cubicBezTo>
                  <a:cubicBezTo>
                    <a:pt x="1722" y="340"/>
                    <a:pt x="1710" y="346"/>
                    <a:pt x="1697" y="353"/>
                  </a:cubicBezTo>
                  <a:cubicBezTo>
                    <a:pt x="1692" y="355"/>
                    <a:pt x="1686" y="356"/>
                    <a:pt x="1681" y="358"/>
                  </a:cubicBezTo>
                  <a:cubicBezTo>
                    <a:pt x="1671" y="330"/>
                    <a:pt x="1671" y="330"/>
                    <a:pt x="1671" y="330"/>
                  </a:cubicBezTo>
                  <a:cubicBezTo>
                    <a:pt x="309" y="798"/>
                    <a:pt x="309" y="798"/>
                    <a:pt x="309" y="798"/>
                  </a:cubicBezTo>
                  <a:cubicBezTo>
                    <a:pt x="192" y="838"/>
                    <a:pt x="192" y="838"/>
                    <a:pt x="192" y="838"/>
                  </a:cubicBezTo>
                  <a:cubicBezTo>
                    <a:pt x="192" y="838"/>
                    <a:pt x="0" y="886"/>
                    <a:pt x="62" y="1067"/>
                  </a:cubicBezTo>
                  <a:cubicBezTo>
                    <a:pt x="196" y="1458"/>
                    <a:pt x="196" y="1458"/>
                    <a:pt x="196" y="1458"/>
                  </a:cubicBezTo>
                  <a:cubicBezTo>
                    <a:pt x="134" y="1278"/>
                    <a:pt x="327" y="1229"/>
                    <a:pt x="327" y="1229"/>
                  </a:cubicBezTo>
                  <a:cubicBezTo>
                    <a:pt x="1806" y="721"/>
                    <a:pt x="1806" y="721"/>
                    <a:pt x="1806" y="721"/>
                  </a:cubicBezTo>
                  <a:cubicBezTo>
                    <a:pt x="1798" y="700"/>
                    <a:pt x="1798" y="700"/>
                    <a:pt x="1798" y="700"/>
                  </a:cubicBezTo>
                  <a:cubicBezTo>
                    <a:pt x="1808" y="697"/>
                    <a:pt x="1817" y="695"/>
                    <a:pt x="1827" y="692"/>
                  </a:cubicBezTo>
                  <a:cubicBezTo>
                    <a:pt x="1831" y="692"/>
                    <a:pt x="1834" y="692"/>
                    <a:pt x="1839" y="692"/>
                  </a:cubicBezTo>
                  <a:cubicBezTo>
                    <a:pt x="1873" y="695"/>
                    <a:pt x="1908" y="711"/>
                    <a:pt x="1944" y="719"/>
                  </a:cubicBezTo>
                  <a:cubicBezTo>
                    <a:pt x="2016" y="734"/>
                    <a:pt x="2080" y="759"/>
                    <a:pt x="2140" y="786"/>
                  </a:cubicBezTo>
                  <a:cubicBezTo>
                    <a:pt x="2173" y="801"/>
                    <a:pt x="2208" y="811"/>
                    <a:pt x="2234" y="824"/>
                  </a:cubicBezTo>
                  <a:cubicBezTo>
                    <a:pt x="2267" y="841"/>
                    <a:pt x="2330" y="891"/>
                    <a:pt x="2335" y="825"/>
                  </a:cubicBezTo>
                  <a:cubicBezTo>
                    <a:pt x="2302" y="775"/>
                    <a:pt x="2207" y="754"/>
                    <a:pt x="2182" y="694"/>
                  </a:cubicBezTo>
                  <a:cubicBezTo>
                    <a:pt x="2179" y="688"/>
                    <a:pt x="2183" y="677"/>
                    <a:pt x="2186" y="670"/>
                  </a:cubicBezTo>
                  <a:cubicBezTo>
                    <a:pt x="2224" y="672"/>
                    <a:pt x="2268" y="697"/>
                    <a:pt x="2305" y="703"/>
                  </a:cubicBezTo>
                  <a:cubicBezTo>
                    <a:pt x="2334" y="707"/>
                    <a:pt x="2365" y="696"/>
                    <a:pt x="2389" y="700"/>
                  </a:cubicBezTo>
                  <a:cubicBezTo>
                    <a:pt x="2422" y="705"/>
                    <a:pt x="2482" y="731"/>
                    <a:pt x="2493" y="684"/>
                  </a:cubicBezTo>
                  <a:cubicBezTo>
                    <a:pt x="2500" y="653"/>
                    <a:pt x="2466" y="646"/>
                    <a:pt x="2441" y="638"/>
                  </a:cubicBezTo>
                  <a:cubicBezTo>
                    <a:pt x="2385" y="620"/>
                    <a:pt x="2322" y="620"/>
                    <a:pt x="2250" y="586"/>
                  </a:cubicBezTo>
                  <a:cubicBezTo>
                    <a:pt x="2247" y="559"/>
                    <a:pt x="2297" y="569"/>
                    <a:pt x="2318" y="570"/>
                  </a:cubicBezTo>
                  <a:cubicBezTo>
                    <a:pt x="2379" y="573"/>
                    <a:pt x="2434" y="559"/>
                    <a:pt x="2487" y="565"/>
                  </a:cubicBezTo>
                  <a:cubicBezTo>
                    <a:pt x="2501" y="566"/>
                    <a:pt x="2515" y="573"/>
                    <a:pt x="2532" y="576"/>
                  </a:cubicBezTo>
                  <a:cubicBezTo>
                    <a:pt x="2544" y="577"/>
                    <a:pt x="2565" y="541"/>
                    <a:pt x="2553" y="523"/>
                  </a:cubicBezTo>
                  <a:close/>
                </a:path>
              </a:pathLst>
            </a:custGeom>
            <a:solidFill>
              <a:srgbClr val="00588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 name="TextBox 25"/>
          <p:cNvSpPr txBox="1"/>
          <p:nvPr/>
        </p:nvSpPr>
        <p:spPr>
          <a:xfrm>
            <a:off x="4402259" y="1658509"/>
            <a:ext cx="7194656" cy="3655360"/>
          </a:xfrm>
          <a:prstGeom prst="rect">
            <a:avLst/>
          </a:prstGeom>
          <a:solidFill>
            <a:srgbClr val="EDEDED"/>
          </a:solidFill>
        </p:spPr>
        <p:txBody>
          <a:bodyPr wrap="square" rtlCol="0">
            <a:spAutoFit/>
          </a:bodyPr>
          <a:lstStyle/>
          <a:p>
            <a:endParaRPr lang="en-US" sz="1600" dirty="0">
              <a:solidFill>
                <a:schemeClr val="tx1"/>
              </a:solidFill>
              <a:latin typeface="Futura Lt BT" panose="020B0402020204020303" pitchFamily="34" charset="0"/>
              <a:ea typeface="Open Sans"/>
              <a:cs typeface="Open Sans"/>
              <a:sym typeface="Open Sans"/>
            </a:endParaRPr>
          </a:p>
          <a:p>
            <a:pPr marL="285750" indent="-285750">
              <a:buFont typeface="Wingdings" panose="05000000000000000000" pitchFamily="2" charset="2"/>
              <a:buChar char="Ø"/>
            </a:pPr>
            <a:r>
              <a:rPr lang="en-US" sz="1600" dirty="0">
                <a:solidFill>
                  <a:schemeClr val="tx1"/>
                </a:solidFill>
                <a:latin typeface="Futura Lt BT" panose="020B0402020204020303" pitchFamily="34" charset="0"/>
                <a:ea typeface="Open Sans"/>
                <a:cs typeface="Open Sans"/>
                <a:sym typeface="Open Sans"/>
              </a:rPr>
              <a:t>Credit cards are a common risk control method in the financial industry. We have used personal information /  data submitted by applicants to predict the probability of future defaults and credit card borrowings. </a:t>
            </a:r>
          </a:p>
          <a:p>
            <a:pPr marL="285750" indent="-285750">
              <a:buFont typeface="Wingdings" panose="05000000000000000000" pitchFamily="2" charset="2"/>
              <a:buChar char="Ø"/>
            </a:pPr>
            <a:endParaRPr lang="en-US" sz="1600" dirty="0">
              <a:solidFill>
                <a:schemeClr val="tx1"/>
              </a:solidFill>
              <a:latin typeface="Futura Lt BT" panose="020B0402020204020303" pitchFamily="34" charset="0"/>
              <a:ea typeface="Open Sans"/>
              <a:cs typeface="Open Sans"/>
              <a:sym typeface="Open Sans"/>
            </a:endParaRPr>
          </a:p>
          <a:p>
            <a:pPr marL="285750" indent="-285750">
              <a:buFont typeface="Wingdings" panose="05000000000000000000" pitchFamily="2" charset="2"/>
              <a:buChar char="Ø"/>
            </a:pPr>
            <a:r>
              <a:rPr lang="en-US" sz="1600" dirty="0">
                <a:solidFill>
                  <a:schemeClr val="tx1"/>
                </a:solidFill>
                <a:latin typeface="Futura Lt BT" panose="020B0402020204020303" pitchFamily="34" charset="0"/>
                <a:ea typeface="Open Sans"/>
                <a:cs typeface="Open Sans"/>
                <a:sym typeface="Open Sans"/>
              </a:rPr>
              <a:t>We have used supervised classification algorithms such as </a:t>
            </a:r>
            <a:r>
              <a:rPr kumimoji="1" lang="en-US" altLang="ja-JP" sz="1600" dirty="0">
                <a:solidFill>
                  <a:schemeClr val="tx1"/>
                </a:solidFill>
                <a:latin typeface="Futura Lt BT" panose="020B0402020204020303" pitchFamily="34" charset="0"/>
                <a:cs typeface="Calibri" panose="020F0502020204030204" pitchFamily="34" charset="0"/>
              </a:rPr>
              <a:t>Logistic Regression, Decision Tree, Random Forest, XG Boost, Gradient Boosting, and K Neighbors. </a:t>
            </a:r>
            <a:r>
              <a:rPr kumimoji="1" lang="en-US" altLang="ja-JP" sz="1600" dirty="0">
                <a:solidFill>
                  <a:schemeClr val="tx1"/>
                </a:solidFill>
                <a:latin typeface="Futura Lt BT" panose="020B0402020204020303" pitchFamily="34" charset="0"/>
                <a:ea typeface="Open Sans"/>
                <a:cs typeface="Open Sans"/>
                <a:sym typeface="Open Sans"/>
              </a:rPr>
              <a:t>After</a:t>
            </a:r>
            <a:r>
              <a:rPr lang="en-US" altLang="ja-JP" sz="1600" dirty="0">
                <a:solidFill>
                  <a:schemeClr val="tx1"/>
                </a:solidFill>
                <a:latin typeface="Futura Lt BT" panose="020B0402020204020303" pitchFamily="34" charset="0"/>
                <a:ea typeface="Open Sans"/>
                <a:cs typeface="Open Sans"/>
                <a:sym typeface="Open Sans"/>
              </a:rPr>
              <a:t> modelling data with each Algo.</a:t>
            </a:r>
            <a:r>
              <a:rPr lang="en-US" sz="1600" dirty="0">
                <a:solidFill>
                  <a:schemeClr val="tx1"/>
                </a:solidFill>
                <a:latin typeface="Futura Lt BT" panose="020B0402020204020303" pitchFamily="34" charset="0"/>
                <a:ea typeface="Open Sans"/>
                <a:cs typeface="Open Sans"/>
                <a:sym typeface="Open Sans"/>
              </a:rPr>
              <a:t>, we have chosen </a:t>
            </a:r>
            <a:r>
              <a:rPr kumimoji="1" lang="en-US" sz="1600" dirty="0">
                <a:solidFill>
                  <a:schemeClr val="tx1"/>
                </a:solidFill>
                <a:latin typeface="Futura Lt BT" panose="020B0402020204020303" pitchFamily="34" charset="0"/>
                <a:ea typeface="Open Sans"/>
                <a:cs typeface="Calibri" panose="020F0502020204030204" pitchFamily="34" charset="0"/>
              </a:rPr>
              <a:t>Random Forest Classifier as it pe</a:t>
            </a:r>
            <a:r>
              <a:rPr lang="en-US" sz="1600" dirty="0">
                <a:solidFill>
                  <a:schemeClr val="tx1"/>
                </a:solidFill>
                <a:latin typeface="Futura Lt BT" panose="020B0402020204020303" pitchFamily="34" charset="0"/>
                <a:ea typeface="Open Sans"/>
                <a:cs typeface="Open Sans"/>
                <a:sym typeface="Open Sans"/>
              </a:rPr>
              <a:t>rformed the best based on evaluation metrics. </a:t>
            </a:r>
          </a:p>
          <a:p>
            <a:endParaRPr lang="en-US" sz="1600" dirty="0">
              <a:solidFill>
                <a:schemeClr val="tx1"/>
              </a:solidFill>
              <a:latin typeface="Futura Lt BT" panose="020B0402020204020303" pitchFamily="34" charset="0"/>
              <a:ea typeface="Open Sans"/>
              <a:cs typeface="Open Sans"/>
              <a:sym typeface="Open Sans"/>
            </a:endParaRPr>
          </a:p>
          <a:p>
            <a:pPr marL="285750" lvl="0" indent="-285750">
              <a:lnSpc>
                <a:spcPct val="90000"/>
              </a:lnSpc>
              <a:spcBef>
                <a:spcPts val="1000"/>
              </a:spcBef>
              <a:buClrTx/>
              <a:buSzPts val="1600"/>
              <a:buFont typeface="Wingdings" panose="05000000000000000000" pitchFamily="2" charset="2"/>
              <a:buChar char="Ø"/>
            </a:pPr>
            <a:r>
              <a:rPr lang="en-US" sz="1600" dirty="0">
                <a:solidFill>
                  <a:schemeClr val="tx1"/>
                </a:solidFill>
                <a:latin typeface="Futura Lt BT" panose="020B0402020204020303" pitchFamily="34" charset="0"/>
                <a:ea typeface="Open Sans"/>
                <a:cs typeface="Open Sans"/>
                <a:sym typeface="Open Sans"/>
              </a:rPr>
              <a:t>The model can help in decision making by taking input features and by returning the genuineness of the customer based on past delinquency status and personal information.</a:t>
            </a:r>
            <a:endParaRPr lang="en-US" sz="1600" dirty="0">
              <a:solidFill>
                <a:schemeClr val="tx1"/>
              </a:solidFill>
              <a:latin typeface="Futura Lt BT" panose="020B0402020204020303" pitchFamily="34" charset="0"/>
            </a:endParaRPr>
          </a:p>
          <a:p>
            <a:endParaRPr lang="en-US" sz="2000" dirty="0">
              <a:solidFill>
                <a:schemeClr val="tx1"/>
              </a:solidFill>
              <a:latin typeface="Futura Lt BT" panose="020B0402020204020303" pitchFamily="34" charset="0"/>
            </a:endParaRPr>
          </a:p>
        </p:txBody>
      </p:sp>
      <p:sp>
        <p:nvSpPr>
          <p:cNvPr id="31" name="Title 2">
            <a:extLst>
              <a:ext uri="{FF2B5EF4-FFF2-40B4-BE49-F238E27FC236}">
                <a16:creationId xmlns:a16="http://schemas.microsoft.com/office/drawing/2014/main" id="{4B3DCF99-4807-2F21-1158-C2E750E92F00}"/>
              </a:ext>
            </a:extLst>
          </p:cNvPr>
          <p:cNvSpPr txBox="1">
            <a:spLocks/>
          </p:cNvSpPr>
          <p:nvPr/>
        </p:nvSpPr>
        <p:spPr>
          <a:xfrm>
            <a:off x="675124" y="262129"/>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Conclusion</a:t>
            </a:r>
          </a:p>
        </p:txBody>
      </p:sp>
    </p:spTree>
    <p:extLst>
      <p:ext uri="{BB962C8B-B14F-4D97-AF65-F5344CB8AC3E}">
        <p14:creationId xmlns:p14="http://schemas.microsoft.com/office/powerpoint/2010/main" val="3852747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119604" y="1056959"/>
            <a:ext cx="10922022" cy="5063626"/>
            <a:chOff x="498968" y="693165"/>
            <a:chExt cx="7689535" cy="3797719"/>
          </a:xfrm>
        </p:grpSpPr>
        <p:sp>
          <p:nvSpPr>
            <p:cNvPr id="40" name="Rectangle 39"/>
            <p:cNvSpPr/>
            <p:nvPr/>
          </p:nvSpPr>
          <p:spPr>
            <a:xfrm>
              <a:off x="1284268" y="1148063"/>
              <a:ext cx="6904235" cy="554803"/>
            </a:xfrm>
            <a:prstGeom prst="rect">
              <a:avLst/>
            </a:prstGeom>
            <a:solidFill>
              <a:srgbClr val="36A3C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r>
                <a:rPr lang="en-US" sz="2000" dirty="0">
                  <a:solidFill>
                    <a:schemeClr val="bg1"/>
                  </a:solidFill>
                  <a:latin typeface="Futura Lt BT" panose="020B0402020204020303" pitchFamily="34" charset="0"/>
                  <a:ea typeface="Open Sans"/>
                  <a:cs typeface="Open Sans"/>
                  <a:sym typeface="Open Sans"/>
                </a:rPr>
                <a:t>Code zip file:</a:t>
              </a:r>
            </a:p>
            <a:p>
              <a:endParaRPr lang="en-US" sz="1867" dirty="0"/>
            </a:p>
          </p:txBody>
        </p:sp>
        <p:sp>
          <p:nvSpPr>
            <p:cNvPr id="41" name="Rectangle 40"/>
            <p:cNvSpPr/>
            <p:nvPr/>
          </p:nvSpPr>
          <p:spPr>
            <a:xfrm>
              <a:off x="1284268" y="1949447"/>
              <a:ext cx="6904235" cy="554803"/>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sz="1867" dirty="0"/>
            </a:p>
          </p:txBody>
        </p:sp>
        <p:sp>
          <p:nvSpPr>
            <p:cNvPr id="42" name="Rectangle 41"/>
            <p:cNvSpPr/>
            <p:nvPr/>
          </p:nvSpPr>
          <p:spPr>
            <a:xfrm>
              <a:off x="1284268" y="2730257"/>
              <a:ext cx="6904235" cy="554803"/>
            </a:xfrm>
            <a:prstGeom prst="rect">
              <a:avLst/>
            </a:prstGeom>
            <a:solidFill>
              <a:srgbClr val="36A3C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sz="1867" dirty="0"/>
            </a:p>
          </p:txBody>
        </p:sp>
        <p:sp>
          <p:nvSpPr>
            <p:cNvPr id="43" name="Rectangle 42"/>
            <p:cNvSpPr/>
            <p:nvPr/>
          </p:nvSpPr>
          <p:spPr>
            <a:xfrm>
              <a:off x="1284268" y="3541941"/>
              <a:ext cx="6904235" cy="554803"/>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sz="1867" dirty="0"/>
            </a:p>
          </p:txBody>
        </p:sp>
        <p:pic>
          <p:nvPicPr>
            <p:cNvPr id="44" name="Picture 245" descr="C:\Documents and Settings\kawaljeetsingh\Desktop\banner_samples.png"/>
            <p:cNvPicPr>
              <a:picLocks noChangeArrowheads="1"/>
            </p:cNvPicPr>
            <p:nvPr/>
          </p:nvPicPr>
          <p:blipFill>
            <a:blip r:embed="rId2" cstate="print"/>
            <a:srcRect l="8727" r="7400" b="33620"/>
            <a:stretch>
              <a:fillRect/>
            </a:stretch>
          </p:blipFill>
          <p:spPr bwMode="auto">
            <a:xfrm rot="16200000" flipV="1">
              <a:off x="1156237" y="718653"/>
              <a:ext cx="745021" cy="1413622"/>
            </a:xfrm>
            <a:prstGeom prst="rect">
              <a:avLst/>
            </a:prstGeom>
            <a:noFill/>
            <a:ln>
              <a:noFill/>
            </a:ln>
          </p:spPr>
        </p:pic>
        <p:pic>
          <p:nvPicPr>
            <p:cNvPr id="45" name="Picture 245" descr="C:\Documents and Settings\kawaljeetsingh\Desktop\banner_samples.png"/>
            <p:cNvPicPr>
              <a:picLocks noChangeArrowheads="1"/>
            </p:cNvPicPr>
            <p:nvPr/>
          </p:nvPicPr>
          <p:blipFill>
            <a:blip r:embed="rId2" cstate="print"/>
            <a:srcRect l="8727" r="7400" b="33620"/>
            <a:stretch>
              <a:fillRect/>
            </a:stretch>
          </p:blipFill>
          <p:spPr bwMode="auto">
            <a:xfrm rot="16200000" flipV="1">
              <a:off x="1156234" y="1520034"/>
              <a:ext cx="745021" cy="1413628"/>
            </a:xfrm>
            <a:prstGeom prst="rect">
              <a:avLst/>
            </a:prstGeom>
            <a:noFill/>
            <a:ln>
              <a:noFill/>
            </a:ln>
          </p:spPr>
        </p:pic>
        <p:pic>
          <p:nvPicPr>
            <p:cNvPr id="46" name="Picture 245" descr="C:\Documents and Settings\kawaljeetsingh\Desktop\banner_samples.png"/>
            <p:cNvPicPr>
              <a:picLocks noChangeArrowheads="1"/>
            </p:cNvPicPr>
            <p:nvPr/>
          </p:nvPicPr>
          <p:blipFill>
            <a:blip r:embed="rId2" cstate="print"/>
            <a:srcRect l="8727" r="7400" b="33620"/>
            <a:stretch>
              <a:fillRect/>
            </a:stretch>
          </p:blipFill>
          <p:spPr bwMode="auto">
            <a:xfrm rot="16200000" flipV="1">
              <a:off x="1156236" y="2321420"/>
              <a:ext cx="745021" cy="1413624"/>
            </a:xfrm>
            <a:prstGeom prst="rect">
              <a:avLst/>
            </a:prstGeom>
            <a:noFill/>
            <a:ln>
              <a:noFill/>
            </a:ln>
          </p:spPr>
        </p:pic>
        <p:pic>
          <p:nvPicPr>
            <p:cNvPr id="47" name="Picture 245" descr="C:\Documents and Settings\kawaljeetsingh\Desktop\banner_samples.png"/>
            <p:cNvPicPr>
              <a:picLocks noChangeArrowheads="1"/>
            </p:cNvPicPr>
            <p:nvPr/>
          </p:nvPicPr>
          <p:blipFill>
            <a:blip r:embed="rId2" cstate="print"/>
            <a:srcRect l="8727" r="7400" b="33620"/>
            <a:stretch>
              <a:fillRect/>
            </a:stretch>
          </p:blipFill>
          <p:spPr bwMode="auto">
            <a:xfrm rot="16200000" flipV="1">
              <a:off x="1156236" y="3112530"/>
              <a:ext cx="745021" cy="1413624"/>
            </a:xfrm>
            <a:prstGeom prst="rect">
              <a:avLst/>
            </a:prstGeom>
            <a:noFill/>
            <a:ln>
              <a:noFill/>
            </a:ln>
          </p:spPr>
        </p:pic>
        <p:sp>
          <p:nvSpPr>
            <p:cNvPr id="48" name="Rectangle 47"/>
            <p:cNvSpPr/>
            <p:nvPr/>
          </p:nvSpPr>
          <p:spPr>
            <a:xfrm>
              <a:off x="498968" y="693165"/>
              <a:ext cx="777927" cy="3797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49" name="Title 2">
            <a:extLst>
              <a:ext uri="{FF2B5EF4-FFF2-40B4-BE49-F238E27FC236}">
                <a16:creationId xmlns:a16="http://schemas.microsoft.com/office/drawing/2014/main" id="{4B3DCF99-4807-2F21-1158-C2E750E92F00}"/>
              </a:ext>
            </a:extLst>
          </p:cNvPr>
          <p:cNvSpPr txBox="1">
            <a:spLocks/>
          </p:cNvSpPr>
          <p:nvPr/>
        </p:nvSpPr>
        <p:spPr>
          <a:xfrm>
            <a:off x="827524" y="306375"/>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4100" b="0" dirty="0">
                <a:solidFill>
                  <a:schemeClr val="tx1"/>
                </a:solidFill>
                <a:latin typeface="Berlin Sans FB" panose="020E0602020502020306" pitchFamily="34" charset="0"/>
                <a:cs typeface="Helvetica" panose="020B0604020202020204" pitchFamily="34" charset="0"/>
              </a:rPr>
              <a:t>Hyperlinks</a:t>
            </a:r>
            <a:endParaRPr lang="en-SG" sz="4100" b="0" dirty="0">
              <a:solidFill>
                <a:schemeClr val="tx1"/>
              </a:solidFill>
              <a:latin typeface="Berlin Sans FB" panose="020E0602020502020306" pitchFamily="34" charset="0"/>
              <a:cs typeface="Helvetica" panose="020B0604020202020204" pitchFamily="34" charset="0"/>
            </a:endParaRPr>
          </a:p>
        </p:txBody>
      </p:sp>
      <p:graphicFrame>
        <p:nvGraphicFramePr>
          <p:cNvPr id="54" name="Object 53"/>
          <p:cNvGraphicFramePr>
            <a:graphicFrameLocks noChangeAspect="1"/>
          </p:cNvGraphicFramePr>
          <p:nvPr>
            <p:extLst>
              <p:ext uri="{D42A27DB-BD31-4B8C-83A1-F6EECF244321}">
                <p14:modId xmlns:p14="http://schemas.microsoft.com/office/powerpoint/2010/main" val="2979477938"/>
              </p:ext>
            </p:extLst>
          </p:nvPr>
        </p:nvGraphicFramePr>
        <p:xfrm>
          <a:off x="3480758" y="1958133"/>
          <a:ext cx="2362200" cy="366713"/>
        </p:xfrm>
        <a:graphic>
          <a:graphicData uri="http://schemas.openxmlformats.org/presentationml/2006/ole">
            <mc:AlternateContent xmlns:mc="http://schemas.openxmlformats.org/markup-compatibility/2006">
              <mc:Choice xmlns:v="urn:schemas-microsoft-com:vml" Requires="v">
                <p:oleObj name="Packager Shell Object" showAsIcon="1" r:id="rId3" imgW="2362320" imgH="367200" progId="Package">
                  <p:embed/>
                </p:oleObj>
              </mc:Choice>
              <mc:Fallback>
                <p:oleObj name="Packager Shell Object" showAsIcon="1" r:id="rId3" imgW="2362320" imgH="367200" progId="Package">
                  <p:embed/>
                  <p:pic>
                    <p:nvPicPr>
                      <p:cNvPr id="33" name="Object 32"/>
                      <p:cNvPicPr/>
                      <p:nvPr/>
                    </p:nvPicPr>
                    <p:blipFill>
                      <a:blip r:embed="rId4"/>
                      <a:stretch>
                        <a:fillRect/>
                      </a:stretch>
                    </p:blipFill>
                    <p:spPr>
                      <a:xfrm>
                        <a:off x="3480758" y="1958133"/>
                        <a:ext cx="2362200" cy="366713"/>
                      </a:xfrm>
                      <a:prstGeom prst="rect">
                        <a:avLst/>
                      </a:prstGeom>
                      <a:ln>
                        <a:noFill/>
                      </a:ln>
                    </p:spPr>
                  </p:pic>
                </p:oleObj>
              </mc:Fallback>
            </mc:AlternateContent>
          </a:graphicData>
        </a:graphic>
      </p:graphicFrame>
      <p:sp>
        <p:nvSpPr>
          <p:cNvPr id="56" name="Rectangle 55"/>
          <p:cNvSpPr/>
          <p:nvPr/>
        </p:nvSpPr>
        <p:spPr>
          <a:xfrm>
            <a:off x="1594181" y="5020342"/>
            <a:ext cx="6978192" cy="369332"/>
          </a:xfrm>
          <a:prstGeom prst="rect">
            <a:avLst/>
          </a:prstGeom>
        </p:spPr>
        <p:txBody>
          <a:bodyPr wrap="none">
            <a:spAutoFit/>
          </a:bodyPr>
          <a:lstStyle/>
          <a:p>
            <a:r>
              <a:rPr lang="en-US" sz="1800" dirty="0">
                <a:solidFill>
                  <a:srgbClr val="048CBC"/>
                </a:solidFill>
                <a:latin typeface="Futura Lt BT" panose="020B0402020204020303"/>
                <a:hlinkClick r:id="rId5"/>
              </a:rPr>
              <a:t>Link to video of Machine Learning Deployment with </a:t>
            </a:r>
            <a:r>
              <a:rPr lang="en-US" sz="1800" dirty="0" err="1">
                <a:solidFill>
                  <a:srgbClr val="048CBC"/>
                </a:solidFill>
                <a:latin typeface="Futura Lt BT" panose="020B0402020204020303"/>
                <a:hlinkClick r:id="rId5"/>
              </a:rPr>
              <a:t>Streamlit</a:t>
            </a:r>
            <a:r>
              <a:rPr lang="en-US" sz="1800" dirty="0">
                <a:solidFill>
                  <a:srgbClr val="048CBC"/>
                </a:solidFill>
                <a:latin typeface="Futura Lt BT" panose="020B0402020204020303"/>
                <a:hlinkClick r:id="rId5"/>
              </a:rPr>
              <a:t> Web-App</a:t>
            </a:r>
            <a:endParaRPr lang="en-IN" sz="1800" dirty="0">
              <a:solidFill>
                <a:srgbClr val="048CBC"/>
              </a:solidFill>
              <a:latin typeface="Futura Lt BT" panose="020B0402020204020303"/>
            </a:endParaRPr>
          </a:p>
        </p:txBody>
      </p:sp>
      <p:sp>
        <p:nvSpPr>
          <p:cNvPr id="59" name="Rectangle 58"/>
          <p:cNvSpPr/>
          <p:nvPr/>
        </p:nvSpPr>
        <p:spPr>
          <a:xfrm>
            <a:off x="1594181" y="3992868"/>
            <a:ext cx="5269391" cy="369332"/>
          </a:xfrm>
          <a:prstGeom prst="rect">
            <a:avLst/>
          </a:prstGeom>
        </p:spPr>
        <p:txBody>
          <a:bodyPr wrap="none">
            <a:spAutoFit/>
          </a:bodyPr>
          <a:lstStyle/>
          <a:p>
            <a:r>
              <a:rPr lang="en-US" sz="1800" u="sng" dirty="0">
                <a:solidFill>
                  <a:schemeClr val="tx1"/>
                </a:solidFill>
                <a:latin typeface="Futura Lt BT" panose="020B0402020204020303" pitchFamily="34" charset="0"/>
                <a:ea typeface="Open Sans"/>
                <a:cs typeface="Open Sans"/>
                <a:sym typeface="Open Sans"/>
                <a:hlinkClick r:id="rId6"/>
              </a:rPr>
              <a:t>Link to BYOP Capstone Project files on Google Drive</a:t>
            </a:r>
            <a:endParaRPr lang="en-IN" sz="1800" dirty="0">
              <a:solidFill>
                <a:srgbClr val="048CBC"/>
              </a:solidFill>
              <a:latin typeface="Futura Lt BT" panose="020B0402020204020303"/>
            </a:endParaRPr>
          </a:p>
        </p:txBody>
      </p:sp>
      <p:sp>
        <p:nvSpPr>
          <p:cNvPr id="60" name="Rectangle 59"/>
          <p:cNvSpPr/>
          <p:nvPr/>
        </p:nvSpPr>
        <p:spPr>
          <a:xfrm>
            <a:off x="1594181" y="2916234"/>
            <a:ext cx="3704866" cy="369332"/>
          </a:xfrm>
          <a:prstGeom prst="rect">
            <a:avLst/>
          </a:prstGeom>
        </p:spPr>
        <p:txBody>
          <a:bodyPr wrap="square">
            <a:spAutoFit/>
          </a:bodyPr>
          <a:lstStyle/>
          <a:p>
            <a:r>
              <a:rPr lang="en-US" sz="1800" u="sng" dirty="0">
                <a:solidFill>
                  <a:srgbClr val="00588A"/>
                </a:solidFill>
                <a:latin typeface="Futura Lt BT" panose="020B0402020204020303"/>
                <a:hlinkClick r:id="rId7"/>
              </a:rPr>
              <a:t>Link to open Tableau Dashboard</a:t>
            </a:r>
            <a:r>
              <a:rPr lang="en-IN" sz="1800" dirty="0">
                <a:solidFill>
                  <a:srgbClr val="048CBC"/>
                </a:solidFill>
                <a:latin typeface="Futura Lt BT" panose="020B0402020204020303"/>
              </a:rPr>
              <a:t>                                                                              </a:t>
            </a:r>
          </a:p>
        </p:txBody>
      </p:sp>
    </p:spTree>
    <p:extLst>
      <p:ext uri="{BB962C8B-B14F-4D97-AF65-F5344CB8AC3E}">
        <p14:creationId xmlns:p14="http://schemas.microsoft.com/office/powerpoint/2010/main" val="21291726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1" name="Google Shape;191;p9"/>
          <p:cNvSpPr txBox="1">
            <a:spLocks noGrp="1"/>
          </p:cNvSpPr>
          <p:nvPr>
            <p:ph type="title"/>
          </p:nvPr>
        </p:nvSpPr>
        <p:spPr>
          <a:xfrm>
            <a:off x="510810" y="2684611"/>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4400"/>
              <a:buFont typeface="Arial Narrow"/>
              <a:buNone/>
            </a:pPr>
            <a:r>
              <a:rPr lang="en-US" b="0" dirty="0">
                <a:latin typeface="Berlin Sans FB" panose="020E0602020502020306" pitchFamily="34" charset="0"/>
              </a:rPr>
              <a:t>Thank You </a:t>
            </a:r>
            <a:endParaRPr b="0" dirty="0">
              <a:latin typeface="Berlin Sans FB" panose="020E0602020502020306" pitchFamily="34" charset="0"/>
            </a:endParaRPr>
          </a:p>
        </p:txBody>
      </p:sp>
      <p:sp>
        <p:nvSpPr>
          <p:cNvPr id="3" name="Google Shape;104;p1"/>
          <p:cNvSpPr txBox="1"/>
          <p:nvPr/>
        </p:nvSpPr>
        <p:spPr>
          <a:xfrm>
            <a:off x="301269" y="5423105"/>
            <a:ext cx="5823306" cy="682420"/>
          </a:xfrm>
          <a:prstGeom prst="rect">
            <a:avLst/>
          </a:prstGeom>
          <a:noFill/>
          <a:ln>
            <a:noFill/>
          </a:ln>
        </p:spPr>
        <p:txBody>
          <a:bodyPr spcFirstLastPara="1" wrap="square" lIns="91425" tIns="45700" rIns="91425" bIns="45700" anchor="t" anchorCtr="0">
            <a:noAutofit/>
          </a:bodyPr>
          <a:lstStyle/>
          <a:p>
            <a:pPr>
              <a:lnSpc>
                <a:spcPct val="90000"/>
              </a:lnSpc>
              <a:buClr>
                <a:schemeClr val="lt1"/>
              </a:buClr>
              <a:buSzPts val="4000"/>
            </a:pPr>
            <a:r>
              <a:rPr lang="en-US" sz="1800" dirty="0">
                <a:solidFill>
                  <a:schemeClr val="accent4"/>
                </a:solidFill>
                <a:latin typeface="Berlin Sans FB" panose="020E0602020502020306" pitchFamily="34" charset="0"/>
                <a:cs typeface="Calibri" panose="020F0502020204030204" pitchFamily="34" charset="0"/>
              </a:rPr>
              <a:t> </a:t>
            </a:r>
            <a:r>
              <a:rPr lang="en-US" sz="1800" dirty="0">
                <a:solidFill>
                  <a:schemeClr val="accent4"/>
                </a:solidFill>
                <a:latin typeface="Calibri" panose="020F0502020204030204" pitchFamily="34" charset="0"/>
                <a:cs typeface="Calibri" panose="020F0502020204030204" pitchFamily="34" charset="0"/>
              </a:rPr>
              <a:t>From: </a:t>
            </a:r>
            <a:endParaRPr lang="en-US" sz="2400" b="1" u="none" strike="noStrike" cap="none" dirty="0">
              <a:solidFill>
                <a:schemeClr val="bg1"/>
              </a:solidFill>
              <a:latin typeface="Calibri" panose="020F0502020204030204" pitchFamily="34" charset="0"/>
              <a:ea typeface="Arial Narrow"/>
              <a:cs typeface="Calibri" panose="020F0502020204030204" pitchFamily="34" charset="0"/>
              <a:sym typeface="Arial Narrow"/>
            </a:endParaRPr>
          </a:p>
          <a:p>
            <a:pPr marL="0" marR="0" lvl="0" indent="0" algn="l" rtl="0">
              <a:lnSpc>
                <a:spcPct val="90000"/>
              </a:lnSpc>
              <a:spcBef>
                <a:spcPts val="0"/>
              </a:spcBef>
              <a:spcAft>
                <a:spcPts val="0"/>
              </a:spcAft>
              <a:buClr>
                <a:schemeClr val="lt1"/>
              </a:buClr>
              <a:buSzPts val="4000"/>
              <a:buFont typeface="Arial"/>
              <a:buNone/>
            </a:pPr>
            <a:r>
              <a:rPr lang="en-US" sz="2400" b="1" u="none" strike="noStrike" cap="none" dirty="0">
                <a:solidFill>
                  <a:schemeClr val="bg1"/>
                </a:solidFill>
                <a:latin typeface="Calibri" panose="020F0502020204030204" pitchFamily="34" charset="0"/>
                <a:ea typeface="Arial Narrow"/>
                <a:cs typeface="Calibri" panose="020F0502020204030204" pitchFamily="34" charset="0"/>
                <a:sym typeface="Arial Narrow"/>
              </a:rPr>
              <a:t> Team : IPBA 11 - Group E</a:t>
            </a:r>
          </a:p>
        </p:txBody>
      </p:sp>
    </p:spTree>
    <p:extLst>
      <p:ext uri="{BB962C8B-B14F-4D97-AF65-F5344CB8AC3E}">
        <p14:creationId xmlns:p14="http://schemas.microsoft.com/office/powerpoint/2010/main" val="712790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2" name="Title 1"/>
          <p:cNvSpPr>
            <a:spLocks noGrp="1"/>
          </p:cNvSpPr>
          <p:nvPr>
            <p:ph type="title"/>
          </p:nvPr>
        </p:nvSpPr>
        <p:spPr>
          <a:xfrm>
            <a:off x="704850" y="377875"/>
            <a:ext cx="10662810" cy="642647"/>
          </a:xfrm>
        </p:spPr>
        <p:txBody>
          <a:bodyPr spcFirstLastPara="1" vert="horz" wrap="square" lIns="91440" tIns="45720" rIns="91440" bIns="45720" rtlCol="0" anchor="ctr" anchorCtr="0">
            <a:noAutofit/>
          </a:bodyPr>
          <a:lstStyle/>
          <a:p>
            <a:r>
              <a:rPr lang="en-US" sz="4100" u="sng" dirty="0">
                <a:latin typeface="Berlin Sans FB" panose="020E0602020502020306" pitchFamily="34" charset="0"/>
              </a:rPr>
              <a:t>Agenda</a:t>
            </a:r>
          </a:p>
        </p:txBody>
      </p:sp>
      <p:grpSp>
        <p:nvGrpSpPr>
          <p:cNvPr id="3" name="Group 2"/>
          <p:cNvGrpSpPr/>
          <p:nvPr/>
        </p:nvGrpSpPr>
        <p:grpSpPr>
          <a:xfrm>
            <a:off x="3307841" y="3624901"/>
            <a:ext cx="306289" cy="779288"/>
            <a:chOff x="717229" y="860838"/>
            <a:chExt cx="350385" cy="891540"/>
          </a:xfrm>
        </p:grpSpPr>
        <p:cxnSp>
          <p:nvCxnSpPr>
            <p:cNvPr id="4" name="Straight Connector 3"/>
            <p:cNvCxnSpPr/>
            <p:nvPr/>
          </p:nvCxnSpPr>
          <p:spPr>
            <a:xfrm>
              <a:off x="962839" y="958576"/>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 name="Rounded Rectangle 4"/>
            <p:cNvSpPr/>
            <p:nvPr/>
          </p:nvSpPr>
          <p:spPr>
            <a:xfrm rot="20764799">
              <a:off x="717229" y="860838"/>
              <a:ext cx="272531" cy="891540"/>
            </a:xfrm>
            <a:prstGeom prst="roundRect">
              <a:avLst>
                <a:gd name="adj" fmla="val 50000"/>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6" name="Rectangle 2"/>
          <p:cNvSpPr/>
          <p:nvPr/>
        </p:nvSpPr>
        <p:spPr>
          <a:xfrm rot="361008">
            <a:off x="3022263" y="3941407"/>
            <a:ext cx="1865091" cy="1731751"/>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6D97D8"/>
          </a:solidFill>
          <a:ln w="9525">
            <a:noFill/>
          </a:ln>
          <a:effectLst>
            <a:outerShdw blurRad="139700" dist="190500" dir="8100000" algn="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7" name="Rectangle 2"/>
          <p:cNvSpPr/>
          <p:nvPr/>
        </p:nvSpPr>
        <p:spPr>
          <a:xfrm>
            <a:off x="3107892" y="3848434"/>
            <a:ext cx="1865091" cy="1731751"/>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gradFill flip="none" rotWithShape="1">
            <a:gsLst>
              <a:gs pos="60000">
                <a:srgbClr val="548BD2"/>
              </a:gs>
              <a:gs pos="3000">
                <a:srgbClr val="6D97D8"/>
              </a:gs>
              <a:gs pos="100000">
                <a:srgbClr val="0063BE"/>
              </a:gs>
            </a:gsLst>
            <a:path path="circle">
              <a:fillToRect r="100000" b="100000"/>
            </a:path>
            <a:tileRect l="-100000" t="-100000"/>
          </a:gradFill>
          <a:ln w="9525">
            <a:noFill/>
          </a:ln>
          <a:effectLst>
            <a:outerShdw blurRad="25400" dist="381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8" name="Freeform 7">
            <a:hlinkClick r:id="" action="ppaction://noaction"/>
          </p:cNvPr>
          <p:cNvSpPr/>
          <p:nvPr/>
        </p:nvSpPr>
        <p:spPr>
          <a:xfrm>
            <a:off x="3147583" y="3859167"/>
            <a:ext cx="1825400" cy="1730532"/>
          </a:xfrm>
          <a:custGeom>
            <a:avLst/>
            <a:gdLst>
              <a:gd name="connsiteX0" fmla="*/ 2063135 w 2088195"/>
              <a:gd name="connsiteY0" fmla="*/ 0 h 1979806"/>
              <a:gd name="connsiteX1" fmla="*/ 2087821 w 2088195"/>
              <a:gd name="connsiteY1" fmla="*/ 3768 h 1979806"/>
              <a:gd name="connsiteX2" fmla="*/ 2080031 w 2088195"/>
              <a:gd name="connsiteY2" fmla="*/ 111163 h 1979806"/>
              <a:gd name="connsiteX3" fmla="*/ 2022881 w 2088195"/>
              <a:gd name="connsiteY3" fmla="*/ 934777 h 1979806"/>
              <a:gd name="connsiteX4" fmla="*/ 2088195 w 2088195"/>
              <a:gd name="connsiteY4" fmla="*/ 1979806 h 1979806"/>
              <a:gd name="connsiteX5" fmla="*/ 1021395 w 2088195"/>
              <a:gd name="connsiteY5" fmla="*/ 1947149 h 1979806"/>
              <a:gd name="connsiteX6" fmla="*/ 11824 w 2088195"/>
              <a:gd name="connsiteY6" fmla="*/ 1979716 h 1979806"/>
              <a:gd name="connsiteX7" fmla="*/ 8148 w 2088195"/>
              <a:gd name="connsiteY7" fmla="*/ 1955630 h 1979806"/>
              <a:gd name="connsiteX8" fmla="*/ 0 w 2088195"/>
              <a:gd name="connsiteY8" fmla="*/ 1730682 h 1979806"/>
              <a:gd name="connsiteX9" fmla="*/ 7384 w 2088195"/>
              <a:gd name="connsiteY9" fmla="*/ 1584446 h 1979806"/>
              <a:gd name="connsiteX10" fmla="*/ 1256340 w 2088195"/>
              <a:gd name="connsiteY10" fmla="*/ 57341 h 1979806"/>
              <a:gd name="connsiteX11" fmla="*/ 1403788 w 2088195"/>
              <a:gd name="connsiteY11" fmla="*/ 19429 h 1979806"/>
              <a:gd name="connsiteX12" fmla="*/ 1478595 w 2088195"/>
              <a:gd name="connsiteY12" fmla="*/ 17656 h 1979806"/>
              <a:gd name="connsiteX13" fmla="*/ 1949828 w 2088195"/>
              <a:gd name="connsiteY13" fmla="*/ 6303 h 197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195" h="1979806">
                <a:moveTo>
                  <a:pt x="2063135" y="0"/>
                </a:moveTo>
                <a:lnTo>
                  <a:pt x="2087821" y="3768"/>
                </a:lnTo>
                <a:lnTo>
                  <a:pt x="2080031" y="111163"/>
                </a:lnTo>
                <a:cubicBezTo>
                  <a:pt x="2060981" y="364865"/>
                  <a:pt x="2041931" y="566477"/>
                  <a:pt x="2022881" y="934777"/>
                </a:cubicBezTo>
                <a:lnTo>
                  <a:pt x="2088195" y="1979806"/>
                </a:lnTo>
                <a:cubicBezTo>
                  <a:pt x="1728967" y="1976178"/>
                  <a:pt x="1380623" y="1950777"/>
                  <a:pt x="1021395" y="1947149"/>
                </a:cubicBezTo>
                <a:lnTo>
                  <a:pt x="11824" y="1979716"/>
                </a:lnTo>
                <a:lnTo>
                  <a:pt x="8148" y="1955630"/>
                </a:lnTo>
                <a:lnTo>
                  <a:pt x="0" y="1730682"/>
                </a:lnTo>
                <a:lnTo>
                  <a:pt x="7384" y="1584446"/>
                </a:lnTo>
                <a:cubicBezTo>
                  <a:pt x="80746" y="862070"/>
                  <a:pt x="583474" y="266624"/>
                  <a:pt x="1256340" y="57341"/>
                </a:cubicBezTo>
                <a:lnTo>
                  <a:pt x="1403788" y="19429"/>
                </a:lnTo>
                <a:lnTo>
                  <a:pt x="1478595" y="17656"/>
                </a:lnTo>
                <a:cubicBezTo>
                  <a:pt x="1648685" y="14254"/>
                  <a:pt x="1806527" y="12383"/>
                  <a:pt x="1949828" y="6303"/>
                </a:cubicBezTo>
                <a:close/>
              </a:path>
            </a:pathLst>
          </a:custGeom>
          <a:gradFill flip="none" rotWithShape="1">
            <a:gsLst>
              <a:gs pos="3000">
                <a:srgbClr val="6D97D8"/>
              </a:gs>
              <a:gs pos="69000">
                <a:srgbClr val="0063BE"/>
              </a:gs>
            </a:gsLst>
            <a:path path="circle">
              <a:fillToRect r="100000" b="100000"/>
            </a:path>
            <a:tileRect l="-100000" t="-10000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nvGrpSpPr>
          <p:cNvPr id="9" name="Group 8"/>
          <p:cNvGrpSpPr/>
          <p:nvPr/>
        </p:nvGrpSpPr>
        <p:grpSpPr>
          <a:xfrm>
            <a:off x="3318620" y="3784367"/>
            <a:ext cx="265699" cy="499783"/>
            <a:chOff x="2975874" y="1192498"/>
            <a:chExt cx="303950" cy="571774"/>
          </a:xfrm>
          <a:effectLst>
            <a:outerShdw blurRad="50800" dist="38100" dir="5400000" algn="t" rotWithShape="0">
              <a:prstClr val="black">
                <a:alpha val="40000"/>
              </a:prstClr>
            </a:outerShdw>
          </a:effectLst>
        </p:grpSpPr>
        <p:cxnSp>
          <p:nvCxnSpPr>
            <p:cNvPr id="10" name="Straight Connector 9"/>
            <p:cNvCxnSpPr/>
            <p:nvPr/>
          </p:nvCxnSpPr>
          <p:spPr>
            <a:xfrm>
              <a:off x="2975874" y="1243148"/>
              <a:ext cx="104775" cy="463550"/>
            </a:xfrm>
            <a:prstGeom prst="line">
              <a:avLst/>
            </a:prstGeom>
            <a:noFill/>
            <a:ln w="38100">
              <a:gradFill>
                <a:gsLst>
                  <a:gs pos="0">
                    <a:schemeClr val="accent1">
                      <a:lumMod val="5000"/>
                      <a:lumOff val="95000"/>
                    </a:schemeClr>
                  </a:gs>
                  <a:gs pos="49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cxnSp>
        <p:sp>
          <p:nvSpPr>
            <p:cNvPr id="11" name="Arc 10"/>
            <p:cNvSpPr/>
            <p:nvPr/>
          </p:nvSpPr>
          <p:spPr>
            <a:xfrm rot="2744634">
              <a:off x="3077492" y="1562682"/>
              <a:ext cx="199077" cy="204103"/>
            </a:xfrm>
            <a:prstGeom prst="arc">
              <a:avLst>
                <a:gd name="adj1" fmla="val 18217271"/>
                <a:gd name="adj2" fmla="val 6974062"/>
              </a:avLst>
            </a:prstGeom>
            <a:noFill/>
            <a:ln w="38100">
              <a:gradFill>
                <a:gsLst>
                  <a:gs pos="0">
                    <a:srgbClr val="C5C5C6"/>
                  </a:gs>
                  <a:gs pos="100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cxnSp>
          <p:nvCxnSpPr>
            <p:cNvPr id="12" name="Straight Connector 11"/>
            <p:cNvCxnSpPr/>
            <p:nvPr/>
          </p:nvCxnSpPr>
          <p:spPr>
            <a:xfrm>
              <a:off x="3175049" y="1192498"/>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4" name="Group 13"/>
          <p:cNvGrpSpPr/>
          <p:nvPr/>
        </p:nvGrpSpPr>
        <p:grpSpPr>
          <a:xfrm>
            <a:off x="8419608" y="1168929"/>
            <a:ext cx="306289" cy="779288"/>
            <a:chOff x="717229" y="860838"/>
            <a:chExt cx="350385" cy="891540"/>
          </a:xfrm>
        </p:grpSpPr>
        <p:cxnSp>
          <p:nvCxnSpPr>
            <p:cNvPr id="15" name="Straight Connector 14"/>
            <p:cNvCxnSpPr/>
            <p:nvPr/>
          </p:nvCxnSpPr>
          <p:spPr>
            <a:xfrm>
              <a:off x="962839" y="958576"/>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6" name="Rounded Rectangle 15"/>
            <p:cNvSpPr/>
            <p:nvPr/>
          </p:nvSpPr>
          <p:spPr>
            <a:xfrm rot="20764799">
              <a:off x="717229" y="860838"/>
              <a:ext cx="272531" cy="891540"/>
            </a:xfrm>
            <a:prstGeom prst="roundRect">
              <a:avLst>
                <a:gd name="adj" fmla="val 50000"/>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17" name="Rectangle 2"/>
          <p:cNvSpPr/>
          <p:nvPr/>
        </p:nvSpPr>
        <p:spPr>
          <a:xfrm rot="361008">
            <a:off x="8134029" y="1485435"/>
            <a:ext cx="1865091" cy="1731751"/>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B17AC6"/>
          </a:solidFill>
          <a:ln w="9525">
            <a:noFill/>
          </a:ln>
          <a:effectLst>
            <a:outerShdw blurRad="139700" dist="190500" dir="8100000" algn="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18" name="Rectangle 2"/>
          <p:cNvSpPr/>
          <p:nvPr/>
        </p:nvSpPr>
        <p:spPr>
          <a:xfrm>
            <a:off x="8219659" y="1392462"/>
            <a:ext cx="1865091" cy="1731751"/>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B17AC6"/>
          </a:solidFill>
          <a:ln w="9525">
            <a:noFill/>
          </a:ln>
          <a:effectLst>
            <a:outerShdw blurRad="25400" dist="381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19" name="Freeform 18">
            <a:hlinkClick r:id="" action="ppaction://noaction"/>
          </p:cNvPr>
          <p:cNvSpPr/>
          <p:nvPr/>
        </p:nvSpPr>
        <p:spPr>
          <a:xfrm>
            <a:off x="8259349" y="1403195"/>
            <a:ext cx="1825400" cy="1730532"/>
          </a:xfrm>
          <a:custGeom>
            <a:avLst/>
            <a:gdLst>
              <a:gd name="connsiteX0" fmla="*/ 2063135 w 2088195"/>
              <a:gd name="connsiteY0" fmla="*/ 0 h 1979806"/>
              <a:gd name="connsiteX1" fmla="*/ 2087821 w 2088195"/>
              <a:gd name="connsiteY1" fmla="*/ 3768 h 1979806"/>
              <a:gd name="connsiteX2" fmla="*/ 2080031 w 2088195"/>
              <a:gd name="connsiteY2" fmla="*/ 111163 h 1979806"/>
              <a:gd name="connsiteX3" fmla="*/ 2022881 w 2088195"/>
              <a:gd name="connsiteY3" fmla="*/ 934777 h 1979806"/>
              <a:gd name="connsiteX4" fmla="*/ 2088195 w 2088195"/>
              <a:gd name="connsiteY4" fmla="*/ 1979806 h 1979806"/>
              <a:gd name="connsiteX5" fmla="*/ 1021395 w 2088195"/>
              <a:gd name="connsiteY5" fmla="*/ 1947149 h 1979806"/>
              <a:gd name="connsiteX6" fmla="*/ 11824 w 2088195"/>
              <a:gd name="connsiteY6" fmla="*/ 1979716 h 1979806"/>
              <a:gd name="connsiteX7" fmla="*/ 8148 w 2088195"/>
              <a:gd name="connsiteY7" fmla="*/ 1955630 h 1979806"/>
              <a:gd name="connsiteX8" fmla="*/ 0 w 2088195"/>
              <a:gd name="connsiteY8" fmla="*/ 1730682 h 1979806"/>
              <a:gd name="connsiteX9" fmla="*/ 7384 w 2088195"/>
              <a:gd name="connsiteY9" fmla="*/ 1584446 h 1979806"/>
              <a:gd name="connsiteX10" fmla="*/ 1256340 w 2088195"/>
              <a:gd name="connsiteY10" fmla="*/ 57341 h 1979806"/>
              <a:gd name="connsiteX11" fmla="*/ 1403788 w 2088195"/>
              <a:gd name="connsiteY11" fmla="*/ 19429 h 1979806"/>
              <a:gd name="connsiteX12" fmla="*/ 1478595 w 2088195"/>
              <a:gd name="connsiteY12" fmla="*/ 17656 h 1979806"/>
              <a:gd name="connsiteX13" fmla="*/ 1949828 w 2088195"/>
              <a:gd name="connsiteY13" fmla="*/ 6303 h 197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195" h="1979806">
                <a:moveTo>
                  <a:pt x="2063135" y="0"/>
                </a:moveTo>
                <a:lnTo>
                  <a:pt x="2087821" y="3768"/>
                </a:lnTo>
                <a:lnTo>
                  <a:pt x="2080031" y="111163"/>
                </a:lnTo>
                <a:cubicBezTo>
                  <a:pt x="2060981" y="364865"/>
                  <a:pt x="2041931" y="566477"/>
                  <a:pt x="2022881" y="934777"/>
                </a:cubicBezTo>
                <a:lnTo>
                  <a:pt x="2088195" y="1979806"/>
                </a:lnTo>
                <a:cubicBezTo>
                  <a:pt x="1728967" y="1976178"/>
                  <a:pt x="1380623" y="1950777"/>
                  <a:pt x="1021395" y="1947149"/>
                </a:cubicBezTo>
                <a:lnTo>
                  <a:pt x="11824" y="1979716"/>
                </a:lnTo>
                <a:lnTo>
                  <a:pt x="8148" y="1955630"/>
                </a:lnTo>
                <a:lnTo>
                  <a:pt x="0" y="1730682"/>
                </a:lnTo>
                <a:lnTo>
                  <a:pt x="7384" y="1584446"/>
                </a:lnTo>
                <a:cubicBezTo>
                  <a:pt x="80746" y="862070"/>
                  <a:pt x="583474" y="266624"/>
                  <a:pt x="1256340" y="57341"/>
                </a:cubicBezTo>
                <a:lnTo>
                  <a:pt x="1403788" y="19429"/>
                </a:lnTo>
                <a:lnTo>
                  <a:pt x="1478595" y="17656"/>
                </a:lnTo>
                <a:cubicBezTo>
                  <a:pt x="1648685" y="14254"/>
                  <a:pt x="1806527" y="12383"/>
                  <a:pt x="1949828" y="6303"/>
                </a:cubicBezTo>
                <a:close/>
              </a:path>
            </a:pathLst>
          </a:custGeom>
          <a:gradFill flip="none" rotWithShape="1">
            <a:gsLst>
              <a:gs pos="3000">
                <a:srgbClr val="B17AC6"/>
              </a:gs>
              <a:gs pos="69000">
                <a:srgbClr val="83389B"/>
              </a:gs>
            </a:gsLst>
            <a:path path="circle">
              <a:fillToRect r="100000" b="100000"/>
            </a:path>
            <a:tileRect l="-100000" t="-10000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nvGrpSpPr>
          <p:cNvPr id="20" name="Group 19"/>
          <p:cNvGrpSpPr/>
          <p:nvPr/>
        </p:nvGrpSpPr>
        <p:grpSpPr>
          <a:xfrm>
            <a:off x="8430387" y="1328395"/>
            <a:ext cx="265699" cy="499783"/>
            <a:chOff x="2975874" y="1192498"/>
            <a:chExt cx="303950" cy="571774"/>
          </a:xfrm>
          <a:effectLst>
            <a:outerShdw blurRad="50800" dist="38100" dir="5400000" algn="t" rotWithShape="0">
              <a:prstClr val="black">
                <a:alpha val="40000"/>
              </a:prstClr>
            </a:outerShdw>
          </a:effectLst>
        </p:grpSpPr>
        <p:cxnSp>
          <p:nvCxnSpPr>
            <p:cNvPr id="21" name="Straight Connector 20"/>
            <p:cNvCxnSpPr/>
            <p:nvPr/>
          </p:nvCxnSpPr>
          <p:spPr>
            <a:xfrm>
              <a:off x="2975874" y="1243148"/>
              <a:ext cx="104775" cy="463550"/>
            </a:xfrm>
            <a:prstGeom prst="line">
              <a:avLst/>
            </a:prstGeom>
            <a:noFill/>
            <a:ln w="38100">
              <a:gradFill>
                <a:gsLst>
                  <a:gs pos="0">
                    <a:schemeClr val="accent1">
                      <a:lumMod val="5000"/>
                      <a:lumOff val="95000"/>
                    </a:schemeClr>
                  </a:gs>
                  <a:gs pos="49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cxnSp>
        <p:sp>
          <p:nvSpPr>
            <p:cNvPr id="22" name="Arc 21"/>
            <p:cNvSpPr/>
            <p:nvPr/>
          </p:nvSpPr>
          <p:spPr>
            <a:xfrm rot="2744634">
              <a:off x="3077492" y="1562682"/>
              <a:ext cx="199077" cy="204103"/>
            </a:xfrm>
            <a:prstGeom prst="arc">
              <a:avLst>
                <a:gd name="adj1" fmla="val 18217271"/>
                <a:gd name="adj2" fmla="val 6974062"/>
              </a:avLst>
            </a:prstGeom>
            <a:noFill/>
            <a:ln w="38100">
              <a:gradFill>
                <a:gsLst>
                  <a:gs pos="0">
                    <a:srgbClr val="C5C5C6"/>
                  </a:gs>
                  <a:gs pos="100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cxnSp>
          <p:nvCxnSpPr>
            <p:cNvPr id="23" name="Straight Connector 22"/>
            <p:cNvCxnSpPr/>
            <p:nvPr/>
          </p:nvCxnSpPr>
          <p:spPr>
            <a:xfrm>
              <a:off x="3175049" y="1192498"/>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5" name="Group 24"/>
          <p:cNvGrpSpPr/>
          <p:nvPr/>
        </p:nvGrpSpPr>
        <p:grpSpPr>
          <a:xfrm>
            <a:off x="5043283" y="1168930"/>
            <a:ext cx="305672" cy="777769"/>
            <a:chOff x="717229" y="860838"/>
            <a:chExt cx="350385" cy="891540"/>
          </a:xfrm>
        </p:grpSpPr>
        <p:cxnSp>
          <p:nvCxnSpPr>
            <p:cNvPr id="26" name="Straight Connector 25"/>
            <p:cNvCxnSpPr/>
            <p:nvPr/>
          </p:nvCxnSpPr>
          <p:spPr>
            <a:xfrm>
              <a:off x="962839" y="958576"/>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7" name="Rounded Rectangle 26"/>
            <p:cNvSpPr/>
            <p:nvPr/>
          </p:nvSpPr>
          <p:spPr>
            <a:xfrm rot="20764799">
              <a:off x="717229" y="860838"/>
              <a:ext cx="272531" cy="891540"/>
            </a:xfrm>
            <a:prstGeom prst="roundRect">
              <a:avLst>
                <a:gd name="adj" fmla="val 50000"/>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28" name="Rectangle 2"/>
          <p:cNvSpPr/>
          <p:nvPr/>
        </p:nvSpPr>
        <p:spPr>
          <a:xfrm rot="361008">
            <a:off x="4758283" y="1484817"/>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F1896C"/>
          </a:solidFill>
          <a:ln w="9525">
            <a:noFill/>
          </a:ln>
          <a:effectLst>
            <a:outerShdw blurRad="139700" dist="190500" dir="8100000" algn="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29" name="Rectangle 2">
            <a:hlinkClick r:id="" action="ppaction://noaction"/>
          </p:cNvPr>
          <p:cNvSpPr/>
          <p:nvPr/>
        </p:nvSpPr>
        <p:spPr>
          <a:xfrm>
            <a:off x="4843739" y="1392025"/>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D6492A"/>
          </a:solidFill>
          <a:ln w="9525">
            <a:noFill/>
          </a:ln>
          <a:effectLst>
            <a:outerShdw blurRad="25400" dist="381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30" name="Freeform 29">
            <a:hlinkClick r:id="" action="ppaction://noaction"/>
          </p:cNvPr>
          <p:cNvSpPr/>
          <p:nvPr/>
        </p:nvSpPr>
        <p:spPr>
          <a:xfrm>
            <a:off x="4883350" y="1402739"/>
            <a:ext cx="1821717" cy="1727160"/>
          </a:xfrm>
          <a:custGeom>
            <a:avLst/>
            <a:gdLst>
              <a:gd name="connsiteX0" fmla="*/ 2063135 w 2088195"/>
              <a:gd name="connsiteY0" fmla="*/ 0 h 1979806"/>
              <a:gd name="connsiteX1" fmla="*/ 2087821 w 2088195"/>
              <a:gd name="connsiteY1" fmla="*/ 3768 h 1979806"/>
              <a:gd name="connsiteX2" fmla="*/ 2080031 w 2088195"/>
              <a:gd name="connsiteY2" fmla="*/ 111163 h 1979806"/>
              <a:gd name="connsiteX3" fmla="*/ 2022881 w 2088195"/>
              <a:gd name="connsiteY3" fmla="*/ 934777 h 1979806"/>
              <a:gd name="connsiteX4" fmla="*/ 2088195 w 2088195"/>
              <a:gd name="connsiteY4" fmla="*/ 1979806 h 1979806"/>
              <a:gd name="connsiteX5" fmla="*/ 1021395 w 2088195"/>
              <a:gd name="connsiteY5" fmla="*/ 1947149 h 1979806"/>
              <a:gd name="connsiteX6" fmla="*/ 11824 w 2088195"/>
              <a:gd name="connsiteY6" fmla="*/ 1979716 h 1979806"/>
              <a:gd name="connsiteX7" fmla="*/ 8148 w 2088195"/>
              <a:gd name="connsiteY7" fmla="*/ 1955630 h 1979806"/>
              <a:gd name="connsiteX8" fmla="*/ 0 w 2088195"/>
              <a:gd name="connsiteY8" fmla="*/ 1730682 h 1979806"/>
              <a:gd name="connsiteX9" fmla="*/ 7384 w 2088195"/>
              <a:gd name="connsiteY9" fmla="*/ 1584446 h 1979806"/>
              <a:gd name="connsiteX10" fmla="*/ 1256340 w 2088195"/>
              <a:gd name="connsiteY10" fmla="*/ 57341 h 1979806"/>
              <a:gd name="connsiteX11" fmla="*/ 1403788 w 2088195"/>
              <a:gd name="connsiteY11" fmla="*/ 19429 h 1979806"/>
              <a:gd name="connsiteX12" fmla="*/ 1478595 w 2088195"/>
              <a:gd name="connsiteY12" fmla="*/ 17656 h 1979806"/>
              <a:gd name="connsiteX13" fmla="*/ 1949828 w 2088195"/>
              <a:gd name="connsiteY13" fmla="*/ 6303 h 197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195" h="1979806">
                <a:moveTo>
                  <a:pt x="2063135" y="0"/>
                </a:moveTo>
                <a:lnTo>
                  <a:pt x="2087821" y="3768"/>
                </a:lnTo>
                <a:lnTo>
                  <a:pt x="2080031" y="111163"/>
                </a:lnTo>
                <a:cubicBezTo>
                  <a:pt x="2060981" y="364865"/>
                  <a:pt x="2041931" y="566477"/>
                  <a:pt x="2022881" y="934777"/>
                </a:cubicBezTo>
                <a:lnTo>
                  <a:pt x="2088195" y="1979806"/>
                </a:lnTo>
                <a:cubicBezTo>
                  <a:pt x="1728967" y="1976178"/>
                  <a:pt x="1380623" y="1950777"/>
                  <a:pt x="1021395" y="1947149"/>
                </a:cubicBezTo>
                <a:lnTo>
                  <a:pt x="11824" y="1979716"/>
                </a:lnTo>
                <a:lnTo>
                  <a:pt x="8148" y="1955630"/>
                </a:lnTo>
                <a:lnTo>
                  <a:pt x="0" y="1730682"/>
                </a:lnTo>
                <a:lnTo>
                  <a:pt x="7384" y="1584446"/>
                </a:lnTo>
                <a:cubicBezTo>
                  <a:pt x="80746" y="862070"/>
                  <a:pt x="583474" y="266624"/>
                  <a:pt x="1256340" y="57341"/>
                </a:cubicBezTo>
                <a:lnTo>
                  <a:pt x="1403788" y="19429"/>
                </a:lnTo>
                <a:lnTo>
                  <a:pt x="1478595" y="17656"/>
                </a:lnTo>
                <a:cubicBezTo>
                  <a:pt x="1648685" y="14254"/>
                  <a:pt x="1806527" y="12383"/>
                  <a:pt x="1949828" y="6303"/>
                </a:cubicBezTo>
                <a:close/>
              </a:path>
            </a:pathLst>
          </a:custGeom>
          <a:gradFill flip="none" rotWithShape="1">
            <a:gsLst>
              <a:gs pos="3000">
                <a:srgbClr val="D6492A"/>
              </a:gs>
              <a:gs pos="53000">
                <a:srgbClr val="AF3C21"/>
              </a:gs>
            </a:gsLst>
            <a:path path="circle">
              <a:fillToRect r="100000" b="100000"/>
            </a:path>
            <a:tileRect l="-100000" t="-10000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nvGrpSpPr>
          <p:cNvPr id="31" name="Group 30"/>
          <p:cNvGrpSpPr/>
          <p:nvPr/>
        </p:nvGrpSpPr>
        <p:grpSpPr>
          <a:xfrm>
            <a:off x="5054041" y="1328085"/>
            <a:ext cx="265163" cy="498809"/>
            <a:chOff x="2975874" y="1192498"/>
            <a:chExt cx="303950" cy="571774"/>
          </a:xfrm>
          <a:effectLst>
            <a:outerShdw blurRad="50800" dist="38100" dir="5400000" algn="t" rotWithShape="0">
              <a:prstClr val="black">
                <a:alpha val="40000"/>
              </a:prstClr>
            </a:outerShdw>
          </a:effectLst>
        </p:grpSpPr>
        <p:cxnSp>
          <p:nvCxnSpPr>
            <p:cNvPr id="32" name="Straight Connector 31"/>
            <p:cNvCxnSpPr/>
            <p:nvPr/>
          </p:nvCxnSpPr>
          <p:spPr>
            <a:xfrm>
              <a:off x="2975874" y="1243148"/>
              <a:ext cx="104775" cy="463550"/>
            </a:xfrm>
            <a:prstGeom prst="line">
              <a:avLst/>
            </a:prstGeom>
            <a:noFill/>
            <a:ln w="38100">
              <a:gradFill>
                <a:gsLst>
                  <a:gs pos="0">
                    <a:schemeClr val="accent1">
                      <a:lumMod val="5000"/>
                      <a:lumOff val="95000"/>
                    </a:schemeClr>
                  </a:gs>
                  <a:gs pos="49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cxnSp>
        <p:sp>
          <p:nvSpPr>
            <p:cNvPr id="33" name="Arc 32"/>
            <p:cNvSpPr/>
            <p:nvPr/>
          </p:nvSpPr>
          <p:spPr>
            <a:xfrm rot="2744634">
              <a:off x="3077492" y="1562682"/>
              <a:ext cx="199077" cy="204103"/>
            </a:xfrm>
            <a:prstGeom prst="arc">
              <a:avLst>
                <a:gd name="adj1" fmla="val 18217271"/>
                <a:gd name="adj2" fmla="val 6974062"/>
              </a:avLst>
            </a:prstGeom>
            <a:noFill/>
            <a:ln w="38100">
              <a:gradFill>
                <a:gsLst>
                  <a:gs pos="0">
                    <a:srgbClr val="C5C5C6"/>
                  </a:gs>
                  <a:gs pos="100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cxnSp>
          <p:nvCxnSpPr>
            <p:cNvPr id="34" name="Straight Connector 33"/>
            <p:cNvCxnSpPr/>
            <p:nvPr/>
          </p:nvCxnSpPr>
          <p:spPr>
            <a:xfrm>
              <a:off x="3175049" y="1192498"/>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 name="Rectangle 34"/>
          <p:cNvSpPr/>
          <p:nvPr/>
        </p:nvSpPr>
        <p:spPr>
          <a:xfrm>
            <a:off x="4906751" y="1887806"/>
            <a:ext cx="1715955" cy="1015663"/>
          </a:xfrm>
          <a:prstGeom prst="rect">
            <a:avLst/>
          </a:prstGeom>
        </p:spPr>
        <p:txBody>
          <a:bodyPr wrap="square" anchor="ctr">
            <a:spAutoFit/>
          </a:bodyPr>
          <a:lstStyle/>
          <a:p>
            <a:pPr algn="ctr"/>
            <a:r>
              <a:rPr lang="en-US" sz="2000" b="1" dirty="0">
                <a:solidFill>
                  <a:schemeClr val="bg1"/>
                </a:solidFill>
                <a:latin typeface="Futura Lt BT" panose="020B0402020204020303"/>
              </a:rPr>
              <a:t>Data Summary &amp; Data Merging </a:t>
            </a:r>
          </a:p>
        </p:txBody>
      </p:sp>
      <p:sp>
        <p:nvSpPr>
          <p:cNvPr id="36" name="Rectangle 35"/>
          <p:cNvSpPr/>
          <p:nvPr/>
        </p:nvSpPr>
        <p:spPr>
          <a:xfrm rot="200927">
            <a:off x="4940563" y="2370632"/>
            <a:ext cx="1730692" cy="379656"/>
          </a:xfrm>
          <a:prstGeom prst="rect">
            <a:avLst/>
          </a:prstGeom>
        </p:spPr>
        <p:txBody>
          <a:bodyPr wrap="square" anchor="ctr">
            <a:spAutoFit/>
          </a:bodyPr>
          <a:lstStyle/>
          <a:p>
            <a:pPr algn="ctr"/>
            <a:endParaRPr lang="en-US" sz="1867" dirty="0">
              <a:solidFill>
                <a:schemeClr val="bg1"/>
              </a:solidFill>
            </a:endParaRPr>
          </a:p>
        </p:txBody>
      </p:sp>
      <p:grpSp>
        <p:nvGrpSpPr>
          <p:cNvPr id="37" name="Group 36"/>
          <p:cNvGrpSpPr/>
          <p:nvPr/>
        </p:nvGrpSpPr>
        <p:grpSpPr>
          <a:xfrm>
            <a:off x="6520637" y="3624902"/>
            <a:ext cx="305672" cy="777769"/>
            <a:chOff x="717229" y="860838"/>
            <a:chExt cx="350385" cy="891540"/>
          </a:xfrm>
        </p:grpSpPr>
        <p:cxnSp>
          <p:nvCxnSpPr>
            <p:cNvPr id="38" name="Straight Connector 37"/>
            <p:cNvCxnSpPr/>
            <p:nvPr/>
          </p:nvCxnSpPr>
          <p:spPr>
            <a:xfrm>
              <a:off x="962839" y="958576"/>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39" name="Rounded Rectangle 38"/>
            <p:cNvSpPr/>
            <p:nvPr/>
          </p:nvSpPr>
          <p:spPr>
            <a:xfrm rot="20764799">
              <a:off x="717229" y="860838"/>
              <a:ext cx="272531" cy="891540"/>
            </a:xfrm>
            <a:prstGeom prst="roundRect">
              <a:avLst>
                <a:gd name="adj" fmla="val 50000"/>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40" name="Rectangle 2"/>
          <p:cNvSpPr/>
          <p:nvPr/>
        </p:nvSpPr>
        <p:spPr>
          <a:xfrm rot="361008">
            <a:off x="6235637" y="3940789"/>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89C35F"/>
          </a:solidFill>
          <a:ln w="9525">
            <a:noFill/>
          </a:ln>
          <a:effectLst>
            <a:outerShdw blurRad="139700" dist="190500" dir="8100000" algn="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41" name="Rectangle 2"/>
          <p:cNvSpPr/>
          <p:nvPr/>
        </p:nvSpPr>
        <p:spPr>
          <a:xfrm>
            <a:off x="6321093" y="3847997"/>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55A51C"/>
          </a:solidFill>
          <a:ln w="9525">
            <a:noFill/>
          </a:ln>
          <a:effectLst>
            <a:outerShdw blurRad="25400" dist="381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42" name="Freeform 41">
            <a:hlinkClick r:id="rId3" action="ppaction://hlinksldjump"/>
          </p:cNvPr>
          <p:cNvSpPr/>
          <p:nvPr/>
        </p:nvSpPr>
        <p:spPr>
          <a:xfrm>
            <a:off x="6360704" y="3858711"/>
            <a:ext cx="1821717" cy="1727160"/>
          </a:xfrm>
          <a:custGeom>
            <a:avLst/>
            <a:gdLst>
              <a:gd name="connsiteX0" fmla="*/ 2063135 w 2088195"/>
              <a:gd name="connsiteY0" fmla="*/ 0 h 1979806"/>
              <a:gd name="connsiteX1" fmla="*/ 2087821 w 2088195"/>
              <a:gd name="connsiteY1" fmla="*/ 3768 h 1979806"/>
              <a:gd name="connsiteX2" fmla="*/ 2080031 w 2088195"/>
              <a:gd name="connsiteY2" fmla="*/ 111163 h 1979806"/>
              <a:gd name="connsiteX3" fmla="*/ 2022881 w 2088195"/>
              <a:gd name="connsiteY3" fmla="*/ 934777 h 1979806"/>
              <a:gd name="connsiteX4" fmla="*/ 2088195 w 2088195"/>
              <a:gd name="connsiteY4" fmla="*/ 1979806 h 1979806"/>
              <a:gd name="connsiteX5" fmla="*/ 1021395 w 2088195"/>
              <a:gd name="connsiteY5" fmla="*/ 1947149 h 1979806"/>
              <a:gd name="connsiteX6" fmla="*/ 11824 w 2088195"/>
              <a:gd name="connsiteY6" fmla="*/ 1979716 h 1979806"/>
              <a:gd name="connsiteX7" fmla="*/ 8148 w 2088195"/>
              <a:gd name="connsiteY7" fmla="*/ 1955630 h 1979806"/>
              <a:gd name="connsiteX8" fmla="*/ 0 w 2088195"/>
              <a:gd name="connsiteY8" fmla="*/ 1730682 h 1979806"/>
              <a:gd name="connsiteX9" fmla="*/ 7384 w 2088195"/>
              <a:gd name="connsiteY9" fmla="*/ 1584446 h 1979806"/>
              <a:gd name="connsiteX10" fmla="*/ 1256340 w 2088195"/>
              <a:gd name="connsiteY10" fmla="*/ 57341 h 1979806"/>
              <a:gd name="connsiteX11" fmla="*/ 1403788 w 2088195"/>
              <a:gd name="connsiteY11" fmla="*/ 19429 h 1979806"/>
              <a:gd name="connsiteX12" fmla="*/ 1478595 w 2088195"/>
              <a:gd name="connsiteY12" fmla="*/ 17656 h 1979806"/>
              <a:gd name="connsiteX13" fmla="*/ 1949828 w 2088195"/>
              <a:gd name="connsiteY13" fmla="*/ 6303 h 197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195" h="1979806">
                <a:moveTo>
                  <a:pt x="2063135" y="0"/>
                </a:moveTo>
                <a:lnTo>
                  <a:pt x="2087821" y="3768"/>
                </a:lnTo>
                <a:lnTo>
                  <a:pt x="2080031" y="111163"/>
                </a:lnTo>
                <a:cubicBezTo>
                  <a:pt x="2060981" y="364865"/>
                  <a:pt x="2041931" y="566477"/>
                  <a:pt x="2022881" y="934777"/>
                </a:cubicBezTo>
                <a:lnTo>
                  <a:pt x="2088195" y="1979806"/>
                </a:lnTo>
                <a:cubicBezTo>
                  <a:pt x="1728967" y="1976178"/>
                  <a:pt x="1380623" y="1950777"/>
                  <a:pt x="1021395" y="1947149"/>
                </a:cubicBezTo>
                <a:lnTo>
                  <a:pt x="11824" y="1979716"/>
                </a:lnTo>
                <a:lnTo>
                  <a:pt x="8148" y="1955630"/>
                </a:lnTo>
                <a:lnTo>
                  <a:pt x="0" y="1730682"/>
                </a:lnTo>
                <a:lnTo>
                  <a:pt x="7384" y="1584446"/>
                </a:lnTo>
                <a:cubicBezTo>
                  <a:pt x="80746" y="862070"/>
                  <a:pt x="583474" y="266624"/>
                  <a:pt x="1256340" y="57341"/>
                </a:cubicBezTo>
                <a:lnTo>
                  <a:pt x="1403788" y="19429"/>
                </a:lnTo>
                <a:lnTo>
                  <a:pt x="1478595" y="17656"/>
                </a:lnTo>
                <a:cubicBezTo>
                  <a:pt x="1648685" y="14254"/>
                  <a:pt x="1806527" y="12383"/>
                  <a:pt x="1949828" y="6303"/>
                </a:cubicBezTo>
                <a:close/>
              </a:path>
            </a:pathLst>
          </a:custGeom>
          <a:gradFill flip="none" rotWithShape="1">
            <a:gsLst>
              <a:gs pos="3000">
                <a:srgbClr val="55A51C"/>
              </a:gs>
              <a:gs pos="53000">
                <a:srgbClr val="3F7D15"/>
              </a:gs>
            </a:gsLst>
            <a:path path="circle">
              <a:fillToRect r="100000" b="100000"/>
            </a:path>
            <a:tileRect l="-100000" t="-10000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nvGrpSpPr>
          <p:cNvPr id="43" name="Group 42"/>
          <p:cNvGrpSpPr/>
          <p:nvPr/>
        </p:nvGrpSpPr>
        <p:grpSpPr>
          <a:xfrm>
            <a:off x="6531396" y="3784057"/>
            <a:ext cx="265163" cy="498809"/>
            <a:chOff x="2975874" y="1192498"/>
            <a:chExt cx="303950" cy="571774"/>
          </a:xfrm>
          <a:effectLst>
            <a:outerShdw blurRad="50800" dist="38100" dir="5400000" algn="t" rotWithShape="0">
              <a:prstClr val="black">
                <a:alpha val="40000"/>
              </a:prstClr>
            </a:outerShdw>
          </a:effectLst>
        </p:grpSpPr>
        <p:cxnSp>
          <p:nvCxnSpPr>
            <p:cNvPr id="44" name="Straight Connector 43"/>
            <p:cNvCxnSpPr/>
            <p:nvPr/>
          </p:nvCxnSpPr>
          <p:spPr>
            <a:xfrm>
              <a:off x="2975874" y="1243148"/>
              <a:ext cx="104775" cy="463550"/>
            </a:xfrm>
            <a:prstGeom prst="line">
              <a:avLst/>
            </a:prstGeom>
            <a:noFill/>
            <a:ln w="38100">
              <a:gradFill>
                <a:gsLst>
                  <a:gs pos="0">
                    <a:schemeClr val="accent1">
                      <a:lumMod val="5000"/>
                      <a:lumOff val="95000"/>
                    </a:schemeClr>
                  </a:gs>
                  <a:gs pos="49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cxnSp>
        <p:sp>
          <p:nvSpPr>
            <p:cNvPr id="45" name="Arc 44"/>
            <p:cNvSpPr/>
            <p:nvPr/>
          </p:nvSpPr>
          <p:spPr>
            <a:xfrm rot="2744634">
              <a:off x="3077492" y="1562682"/>
              <a:ext cx="199077" cy="204103"/>
            </a:xfrm>
            <a:prstGeom prst="arc">
              <a:avLst>
                <a:gd name="adj1" fmla="val 18217271"/>
                <a:gd name="adj2" fmla="val 6974062"/>
              </a:avLst>
            </a:prstGeom>
            <a:noFill/>
            <a:ln w="38100">
              <a:gradFill>
                <a:gsLst>
                  <a:gs pos="0">
                    <a:srgbClr val="C5C5C6"/>
                  </a:gs>
                  <a:gs pos="100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cxnSp>
          <p:nvCxnSpPr>
            <p:cNvPr id="46" name="Straight Connector 45"/>
            <p:cNvCxnSpPr/>
            <p:nvPr/>
          </p:nvCxnSpPr>
          <p:spPr>
            <a:xfrm>
              <a:off x="3175049" y="1192498"/>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48" name="Rectangle 47"/>
          <p:cNvSpPr/>
          <p:nvPr/>
        </p:nvSpPr>
        <p:spPr>
          <a:xfrm rot="200927">
            <a:off x="6417918" y="4826604"/>
            <a:ext cx="1730692" cy="379656"/>
          </a:xfrm>
          <a:prstGeom prst="rect">
            <a:avLst/>
          </a:prstGeom>
        </p:spPr>
        <p:txBody>
          <a:bodyPr wrap="square" anchor="ctr">
            <a:spAutoFit/>
          </a:bodyPr>
          <a:lstStyle/>
          <a:p>
            <a:pPr algn="ctr"/>
            <a:endParaRPr lang="en-US" sz="1867" dirty="0">
              <a:solidFill>
                <a:schemeClr val="bg1"/>
              </a:solidFill>
            </a:endParaRPr>
          </a:p>
        </p:txBody>
      </p:sp>
      <p:grpSp>
        <p:nvGrpSpPr>
          <p:cNvPr id="49" name="Group 48"/>
          <p:cNvGrpSpPr/>
          <p:nvPr/>
        </p:nvGrpSpPr>
        <p:grpSpPr>
          <a:xfrm>
            <a:off x="1667537" y="1168930"/>
            <a:ext cx="305672" cy="777769"/>
            <a:chOff x="717229" y="860838"/>
            <a:chExt cx="350385" cy="891540"/>
          </a:xfrm>
        </p:grpSpPr>
        <p:cxnSp>
          <p:nvCxnSpPr>
            <p:cNvPr id="50" name="Straight Connector 49"/>
            <p:cNvCxnSpPr/>
            <p:nvPr/>
          </p:nvCxnSpPr>
          <p:spPr>
            <a:xfrm>
              <a:off x="962839" y="958576"/>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1" name="Rounded Rectangle 50"/>
            <p:cNvSpPr/>
            <p:nvPr/>
          </p:nvSpPr>
          <p:spPr>
            <a:xfrm rot="20764799">
              <a:off x="717229" y="860838"/>
              <a:ext cx="272531" cy="891540"/>
            </a:xfrm>
            <a:prstGeom prst="roundRect">
              <a:avLst>
                <a:gd name="adj" fmla="val 50000"/>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52" name="Rectangle 2"/>
          <p:cNvSpPr/>
          <p:nvPr/>
        </p:nvSpPr>
        <p:spPr>
          <a:xfrm rot="361008">
            <a:off x="1382537" y="1484817"/>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FCEFA4"/>
          </a:solidFill>
          <a:ln w="9525">
            <a:noFill/>
          </a:ln>
          <a:effectLst>
            <a:outerShdw blurRad="139700" dist="190500" dir="8100000" algn="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53" name="Rectangle 2">
            <a:hlinkClick r:id="rId4" action="ppaction://hlinksldjump"/>
          </p:cNvPr>
          <p:cNvSpPr/>
          <p:nvPr/>
        </p:nvSpPr>
        <p:spPr>
          <a:xfrm>
            <a:off x="1467993" y="1392025"/>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FFDD3E"/>
          </a:solidFill>
          <a:ln w="9525">
            <a:noFill/>
          </a:ln>
          <a:effectLst>
            <a:outerShdw blurRad="25400" dist="381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54" name="Freeform 53">
            <a:hlinkClick r:id="rId4" action="ppaction://hlinksldjump"/>
          </p:cNvPr>
          <p:cNvSpPr/>
          <p:nvPr/>
        </p:nvSpPr>
        <p:spPr>
          <a:xfrm>
            <a:off x="1507604" y="1402739"/>
            <a:ext cx="1821717" cy="1727160"/>
          </a:xfrm>
          <a:custGeom>
            <a:avLst/>
            <a:gdLst>
              <a:gd name="connsiteX0" fmla="*/ 2063135 w 2088195"/>
              <a:gd name="connsiteY0" fmla="*/ 0 h 1979806"/>
              <a:gd name="connsiteX1" fmla="*/ 2087821 w 2088195"/>
              <a:gd name="connsiteY1" fmla="*/ 3768 h 1979806"/>
              <a:gd name="connsiteX2" fmla="*/ 2080031 w 2088195"/>
              <a:gd name="connsiteY2" fmla="*/ 111163 h 1979806"/>
              <a:gd name="connsiteX3" fmla="*/ 2022881 w 2088195"/>
              <a:gd name="connsiteY3" fmla="*/ 934777 h 1979806"/>
              <a:gd name="connsiteX4" fmla="*/ 2088195 w 2088195"/>
              <a:gd name="connsiteY4" fmla="*/ 1979806 h 1979806"/>
              <a:gd name="connsiteX5" fmla="*/ 1021395 w 2088195"/>
              <a:gd name="connsiteY5" fmla="*/ 1947149 h 1979806"/>
              <a:gd name="connsiteX6" fmla="*/ 11824 w 2088195"/>
              <a:gd name="connsiteY6" fmla="*/ 1979716 h 1979806"/>
              <a:gd name="connsiteX7" fmla="*/ 8148 w 2088195"/>
              <a:gd name="connsiteY7" fmla="*/ 1955630 h 1979806"/>
              <a:gd name="connsiteX8" fmla="*/ 0 w 2088195"/>
              <a:gd name="connsiteY8" fmla="*/ 1730682 h 1979806"/>
              <a:gd name="connsiteX9" fmla="*/ 7384 w 2088195"/>
              <a:gd name="connsiteY9" fmla="*/ 1584446 h 1979806"/>
              <a:gd name="connsiteX10" fmla="*/ 1256340 w 2088195"/>
              <a:gd name="connsiteY10" fmla="*/ 57341 h 1979806"/>
              <a:gd name="connsiteX11" fmla="*/ 1403788 w 2088195"/>
              <a:gd name="connsiteY11" fmla="*/ 19429 h 1979806"/>
              <a:gd name="connsiteX12" fmla="*/ 1478595 w 2088195"/>
              <a:gd name="connsiteY12" fmla="*/ 17656 h 1979806"/>
              <a:gd name="connsiteX13" fmla="*/ 1949828 w 2088195"/>
              <a:gd name="connsiteY13" fmla="*/ 6303 h 197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195" h="1979806">
                <a:moveTo>
                  <a:pt x="2063135" y="0"/>
                </a:moveTo>
                <a:lnTo>
                  <a:pt x="2087821" y="3768"/>
                </a:lnTo>
                <a:lnTo>
                  <a:pt x="2080031" y="111163"/>
                </a:lnTo>
                <a:cubicBezTo>
                  <a:pt x="2060981" y="364865"/>
                  <a:pt x="2041931" y="566477"/>
                  <a:pt x="2022881" y="934777"/>
                </a:cubicBezTo>
                <a:lnTo>
                  <a:pt x="2088195" y="1979806"/>
                </a:lnTo>
                <a:cubicBezTo>
                  <a:pt x="1728967" y="1976178"/>
                  <a:pt x="1380623" y="1950777"/>
                  <a:pt x="1021395" y="1947149"/>
                </a:cubicBezTo>
                <a:lnTo>
                  <a:pt x="11824" y="1979716"/>
                </a:lnTo>
                <a:lnTo>
                  <a:pt x="8148" y="1955630"/>
                </a:lnTo>
                <a:lnTo>
                  <a:pt x="0" y="1730682"/>
                </a:lnTo>
                <a:lnTo>
                  <a:pt x="7384" y="1584446"/>
                </a:lnTo>
                <a:cubicBezTo>
                  <a:pt x="80746" y="862070"/>
                  <a:pt x="583474" y="266624"/>
                  <a:pt x="1256340" y="57341"/>
                </a:cubicBezTo>
                <a:lnTo>
                  <a:pt x="1403788" y="19429"/>
                </a:lnTo>
                <a:lnTo>
                  <a:pt x="1478595" y="17656"/>
                </a:lnTo>
                <a:cubicBezTo>
                  <a:pt x="1648685" y="14254"/>
                  <a:pt x="1806527" y="12383"/>
                  <a:pt x="1949828" y="6303"/>
                </a:cubicBezTo>
                <a:close/>
              </a:path>
            </a:pathLst>
          </a:custGeom>
          <a:gradFill flip="none" rotWithShape="1">
            <a:gsLst>
              <a:gs pos="1000">
                <a:srgbClr val="E2BC00"/>
              </a:gs>
              <a:gs pos="53000">
                <a:srgbClr val="FCC90C"/>
              </a:gs>
            </a:gsLst>
            <a:path path="circle">
              <a:fillToRect r="100000" b="100000"/>
            </a:path>
            <a:tileRect l="-100000" t="-10000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nvGrpSpPr>
          <p:cNvPr id="55" name="Group 54"/>
          <p:cNvGrpSpPr/>
          <p:nvPr/>
        </p:nvGrpSpPr>
        <p:grpSpPr>
          <a:xfrm>
            <a:off x="1678296" y="1328085"/>
            <a:ext cx="265163" cy="498809"/>
            <a:chOff x="2975874" y="1192498"/>
            <a:chExt cx="303950" cy="571774"/>
          </a:xfrm>
          <a:effectLst>
            <a:outerShdw blurRad="50800" dist="38100" dir="5400000" algn="t" rotWithShape="0">
              <a:prstClr val="black">
                <a:alpha val="40000"/>
              </a:prstClr>
            </a:outerShdw>
          </a:effectLst>
        </p:grpSpPr>
        <p:cxnSp>
          <p:nvCxnSpPr>
            <p:cNvPr id="56" name="Straight Connector 55"/>
            <p:cNvCxnSpPr/>
            <p:nvPr/>
          </p:nvCxnSpPr>
          <p:spPr>
            <a:xfrm>
              <a:off x="2975874" y="1243148"/>
              <a:ext cx="104775" cy="463550"/>
            </a:xfrm>
            <a:prstGeom prst="line">
              <a:avLst/>
            </a:prstGeom>
            <a:noFill/>
            <a:ln w="38100">
              <a:gradFill>
                <a:gsLst>
                  <a:gs pos="0">
                    <a:schemeClr val="accent1">
                      <a:lumMod val="5000"/>
                      <a:lumOff val="95000"/>
                    </a:schemeClr>
                  </a:gs>
                  <a:gs pos="49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cxnSp>
        <p:sp>
          <p:nvSpPr>
            <p:cNvPr id="57" name="Arc 56"/>
            <p:cNvSpPr/>
            <p:nvPr/>
          </p:nvSpPr>
          <p:spPr>
            <a:xfrm rot="2744634">
              <a:off x="3077492" y="1562682"/>
              <a:ext cx="199077" cy="204103"/>
            </a:xfrm>
            <a:prstGeom prst="arc">
              <a:avLst>
                <a:gd name="adj1" fmla="val 18217271"/>
                <a:gd name="adj2" fmla="val 6974062"/>
              </a:avLst>
            </a:prstGeom>
            <a:noFill/>
            <a:ln w="38100">
              <a:gradFill>
                <a:gsLst>
                  <a:gs pos="0">
                    <a:srgbClr val="C5C5C6"/>
                  </a:gs>
                  <a:gs pos="100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cxnSp>
          <p:nvCxnSpPr>
            <p:cNvPr id="58" name="Straight Connector 57"/>
            <p:cNvCxnSpPr/>
            <p:nvPr/>
          </p:nvCxnSpPr>
          <p:spPr>
            <a:xfrm>
              <a:off x="3175049" y="1192498"/>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59" name="Rectangle 58"/>
          <p:cNvSpPr/>
          <p:nvPr/>
        </p:nvSpPr>
        <p:spPr>
          <a:xfrm>
            <a:off x="1519652" y="1903909"/>
            <a:ext cx="1747080" cy="1015663"/>
          </a:xfrm>
          <a:prstGeom prst="rect">
            <a:avLst/>
          </a:prstGeom>
        </p:spPr>
        <p:txBody>
          <a:bodyPr wrap="square" anchor="ctr">
            <a:spAutoFit/>
          </a:bodyPr>
          <a:lstStyle/>
          <a:p>
            <a:pPr algn="ctr"/>
            <a:r>
              <a:rPr lang="en-US" sz="2000" b="1" dirty="0">
                <a:solidFill>
                  <a:schemeClr val="bg1"/>
                </a:solidFill>
                <a:latin typeface="Futura Lt BT" panose="020B0402020204020303"/>
              </a:rPr>
              <a:t>Business Problem &amp; Objectives</a:t>
            </a:r>
          </a:p>
        </p:txBody>
      </p:sp>
      <p:sp>
        <p:nvSpPr>
          <p:cNvPr id="60" name="Rectangle 59"/>
          <p:cNvSpPr/>
          <p:nvPr/>
        </p:nvSpPr>
        <p:spPr>
          <a:xfrm rot="200927">
            <a:off x="1564818" y="2370632"/>
            <a:ext cx="1730692" cy="379656"/>
          </a:xfrm>
          <a:prstGeom prst="rect">
            <a:avLst/>
          </a:prstGeom>
        </p:spPr>
        <p:txBody>
          <a:bodyPr wrap="square" anchor="ctr">
            <a:spAutoFit/>
          </a:bodyPr>
          <a:lstStyle/>
          <a:p>
            <a:pPr algn="ctr"/>
            <a:endParaRPr lang="en-US" sz="1867" dirty="0">
              <a:solidFill>
                <a:schemeClr val="bg1"/>
              </a:solidFill>
            </a:endParaRPr>
          </a:p>
        </p:txBody>
      </p:sp>
      <p:grpSp>
        <p:nvGrpSpPr>
          <p:cNvPr id="61" name="Group 60"/>
          <p:cNvGrpSpPr/>
          <p:nvPr/>
        </p:nvGrpSpPr>
        <p:grpSpPr>
          <a:xfrm>
            <a:off x="9730077" y="3624902"/>
            <a:ext cx="305672" cy="777769"/>
            <a:chOff x="717229" y="860838"/>
            <a:chExt cx="350385" cy="891540"/>
          </a:xfrm>
        </p:grpSpPr>
        <p:cxnSp>
          <p:nvCxnSpPr>
            <p:cNvPr id="62" name="Straight Connector 61"/>
            <p:cNvCxnSpPr/>
            <p:nvPr/>
          </p:nvCxnSpPr>
          <p:spPr>
            <a:xfrm>
              <a:off x="962839" y="958576"/>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63" name="Rounded Rectangle 62"/>
            <p:cNvSpPr/>
            <p:nvPr/>
          </p:nvSpPr>
          <p:spPr>
            <a:xfrm rot="20764799">
              <a:off x="717229" y="860838"/>
              <a:ext cx="272531" cy="891540"/>
            </a:xfrm>
            <a:prstGeom prst="roundRect">
              <a:avLst>
                <a:gd name="adj" fmla="val 50000"/>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sp>
        <p:nvSpPr>
          <p:cNvPr id="64" name="Rectangle 2"/>
          <p:cNvSpPr/>
          <p:nvPr/>
        </p:nvSpPr>
        <p:spPr>
          <a:xfrm rot="361008">
            <a:off x="9445077" y="3940789"/>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FDC577"/>
          </a:solidFill>
          <a:ln w="9525">
            <a:noFill/>
          </a:ln>
          <a:effectLst>
            <a:outerShdw blurRad="139700" dist="190500" dir="8100000" algn="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65" name="Rectangle 2"/>
          <p:cNvSpPr/>
          <p:nvPr/>
        </p:nvSpPr>
        <p:spPr>
          <a:xfrm>
            <a:off x="9530533" y="3847997"/>
            <a:ext cx="1861328" cy="1728376"/>
          </a:xfrm>
          <a:custGeom>
            <a:avLst/>
            <a:gdLst>
              <a:gd name="connsiteX0" fmla="*/ 0 w 2079171"/>
              <a:gd name="connsiteY0" fmla="*/ 0 h 1981200"/>
              <a:gd name="connsiteX1" fmla="*/ 2079171 w 2079171"/>
              <a:gd name="connsiteY1" fmla="*/ 0 h 1981200"/>
              <a:gd name="connsiteX2" fmla="*/ 2079171 w 2079171"/>
              <a:gd name="connsiteY2" fmla="*/ 1981200 h 1981200"/>
              <a:gd name="connsiteX3" fmla="*/ 0 w 2079171"/>
              <a:gd name="connsiteY3" fmla="*/ 1981200 h 1981200"/>
              <a:gd name="connsiteX4" fmla="*/ 0 w 2079171"/>
              <a:gd name="connsiteY4"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1012371 w 2079171"/>
              <a:gd name="connsiteY1" fmla="*/ 76200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1981200 h 1981200"/>
              <a:gd name="connsiteX4" fmla="*/ 0 w 2079171"/>
              <a:gd name="connsiteY4" fmla="*/ 1981200 h 1981200"/>
              <a:gd name="connsiteX5" fmla="*/ 0 w 2079171"/>
              <a:gd name="connsiteY5" fmla="*/ 0 h 1981200"/>
              <a:gd name="connsiteX0" fmla="*/ 0 w 2079171"/>
              <a:gd name="connsiteY0" fmla="*/ 0 h 1981200"/>
              <a:gd name="connsiteX1" fmla="*/ 729343 w 2079171"/>
              <a:gd name="connsiteY1" fmla="*/ 54429 h 1981200"/>
              <a:gd name="connsiteX2" fmla="*/ 2079171 w 2079171"/>
              <a:gd name="connsiteY2" fmla="*/ 0 h 1981200"/>
              <a:gd name="connsiteX3" fmla="*/ 2079171 w 2079171"/>
              <a:gd name="connsiteY3" fmla="*/ 925286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0 w 2079171"/>
              <a:gd name="connsiteY0" fmla="*/ 0 h 1981200"/>
              <a:gd name="connsiteX1" fmla="*/ 729343 w 2079171"/>
              <a:gd name="connsiteY1" fmla="*/ 54429 h 1981200"/>
              <a:gd name="connsiteX2" fmla="*/ 2079171 w 2079171"/>
              <a:gd name="connsiteY2" fmla="*/ 0 h 1981200"/>
              <a:gd name="connsiteX3" fmla="*/ 2013857 w 2079171"/>
              <a:gd name="connsiteY3" fmla="*/ 936171 h 1981200"/>
              <a:gd name="connsiteX4" fmla="*/ 2079171 w 2079171"/>
              <a:gd name="connsiteY4" fmla="*/ 1981200 h 1981200"/>
              <a:gd name="connsiteX5" fmla="*/ 0 w 2079171"/>
              <a:gd name="connsiteY5" fmla="*/ 1981200 h 1981200"/>
              <a:gd name="connsiteX6" fmla="*/ 0 w 2079171"/>
              <a:gd name="connsiteY6"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54429 w 2133600"/>
              <a:gd name="connsiteY5" fmla="*/ 1981200 h 1981200"/>
              <a:gd name="connsiteX6" fmla="*/ 0 w 2133600"/>
              <a:gd name="connsiteY6" fmla="*/ 925286 h 1981200"/>
              <a:gd name="connsiteX7" fmla="*/ 54429 w 2133600"/>
              <a:gd name="connsiteY7" fmla="*/ 0 h 1981200"/>
              <a:gd name="connsiteX0" fmla="*/ 54429 w 2133600"/>
              <a:gd name="connsiteY0" fmla="*/ 0 h 1981200"/>
              <a:gd name="connsiteX1" fmla="*/ 783772 w 2133600"/>
              <a:gd name="connsiteY1" fmla="*/ 54429 h 1981200"/>
              <a:gd name="connsiteX2" fmla="*/ 2133600 w 2133600"/>
              <a:gd name="connsiteY2" fmla="*/ 0 h 1981200"/>
              <a:gd name="connsiteX3" fmla="*/ 2068286 w 2133600"/>
              <a:gd name="connsiteY3" fmla="*/ 936171 h 1981200"/>
              <a:gd name="connsiteX4" fmla="*/ 2133600 w 2133600"/>
              <a:gd name="connsiteY4" fmla="*/ 1981200 h 1981200"/>
              <a:gd name="connsiteX5" fmla="*/ 1066800 w 2133600"/>
              <a:gd name="connsiteY5" fmla="*/ 1948543 h 1981200"/>
              <a:gd name="connsiteX6" fmla="*/ 54429 w 2133600"/>
              <a:gd name="connsiteY6" fmla="*/ 1981200 h 1981200"/>
              <a:gd name="connsiteX7" fmla="*/ 0 w 2133600"/>
              <a:gd name="connsiteY7" fmla="*/ 925286 h 1981200"/>
              <a:gd name="connsiteX8" fmla="*/ 54429 w 2133600"/>
              <a:gd name="connsiteY8"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600" h="1981200">
                <a:moveTo>
                  <a:pt x="54429" y="0"/>
                </a:moveTo>
                <a:cubicBezTo>
                  <a:pt x="391886" y="0"/>
                  <a:pt x="446315" y="54429"/>
                  <a:pt x="783772" y="54429"/>
                </a:cubicBezTo>
                <a:cubicBezTo>
                  <a:pt x="1313543" y="7257"/>
                  <a:pt x="1778000" y="25400"/>
                  <a:pt x="2133600" y="0"/>
                </a:cubicBezTo>
                <a:cubicBezTo>
                  <a:pt x="2111829" y="312057"/>
                  <a:pt x="2090057" y="515257"/>
                  <a:pt x="2068286" y="936171"/>
                </a:cubicBezTo>
                <a:lnTo>
                  <a:pt x="2133600" y="1981200"/>
                </a:lnTo>
                <a:cubicBezTo>
                  <a:pt x="1774372" y="1977572"/>
                  <a:pt x="1426028" y="1952171"/>
                  <a:pt x="1066800" y="1948543"/>
                </a:cubicBezTo>
                <a:lnTo>
                  <a:pt x="54429" y="1981200"/>
                </a:lnTo>
                <a:cubicBezTo>
                  <a:pt x="50800" y="1632857"/>
                  <a:pt x="3629" y="1273629"/>
                  <a:pt x="0" y="925286"/>
                </a:cubicBezTo>
                <a:lnTo>
                  <a:pt x="54429" y="0"/>
                </a:lnTo>
                <a:close/>
              </a:path>
            </a:pathLst>
          </a:custGeom>
          <a:solidFill>
            <a:srgbClr val="FBB141"/>
          </a:solidFill>
          <a:ln w="9525">
            <a:noFill/>
          </a:ln>
          <a:effectLst>
            <a:outerShdw blurRad="25400" dist="381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66" name="Freeform 65">
            <a:hlinkClick r:id="" action="ppaction://noaction"/>
          </p:cNvPr>
          <p:cNvSpPr/>
          <p:nvPr/>
        </p:nvSpPr>
        <p:spPr>
          <a:xfrm>
            <a:off x="9570144" y="3858711"/>
            <a:ext cx="1821717" cy="1727160"/>
          </a:xfrm>
          <a:custGeom>
            <a:avLst/>
            <a:gdLst>
              <a:gd name="connsiteX0" fmla="*/ 2063135 w 2088195"/>
              <a:gd name="connsiteY0" fmla="*/ 0 h 1979806"/>
              <a:gd name="connsiteX1" fmla="*/ 2087821 w 2088195"/>
              <a:gd name="connsiteY1" fmla="*/ 3768 h 1979806"/>
              <a:gd name="connsiteX2" fmla="*/ 2080031 w 2088195"/>
              <a:gd name="connsiteY2" fmla="*/ 111163 h 1979806"/>
              <a:gd name="connsiteX3" fmla="*/ 2022881 w 2088195"/>
              <a:gd name="connsiteY3" fmla="*/ 934777 h 1979806"/>
              <a:gd name="connsiteX4" fmla="*/ 2088195 w 2088195"/>
              <a:gd name="connsiteY4" fmla="*/ 1979806 h 1979806"/>
              <a:gd name="connsiteX5" fmla="*/ 1021395 w 2088195"/>
              <a:gd name="connsiteY5" fmla="*/ 1947149 h 1979806"/>
              <a:gd name="connsiteX6" fmla="*/ 11824 w 2088195"/>
              <a:gd name="connsiteY6" fmla="*/ 1979716 h 1979806"/>
              <a:gd name="connsiteX7" fmla="*/ 8148 w 2088195"/>
              <a:gd name="connsiteY7" fmla="*/ 1955630 h 1979806"/>
              <a:gd name="connsiteX8" fmla="*/ 0 w 2088195"/>
              <a:gd name="connsiteY8" fmla="*/ 1730682 h 1979806"/>
              <a:gd name="connsiteX9" fmla="*/ 7384 w 2088195"/>
              <a:gd name="connsiteY9" fmla="*/ 1584446 h 1979806"/>
              <a:gd name="connsiteX10" fmla="*/ 1256340 w 2088195"/>
              <a:gd name="connsiteY10" fmla="*/ 57341 h 1979806"/>
              <a:gd name="connsiteX11" fmla="*/ 1403788 w 2088195"/>
              <a:gd name="connsiteY11" fmla="*/ 19429 h 1979806"/>
              <a:gd name="connsiteX12" fmla="*/ 1478595 w 2088195"/>
              <a:gd name="connsiteY12" fmla="*/ 17656 h 1979806"/>
              <a:gd name="connsiteX13" fmla="*/ 1949828 w 2088195"/>
              <a:gd name="connsiteY13" fmla="*/ 6303 h 197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195" h="1979806">
                <a:moveTo>
                  <a:pt x="2063135" y="0"/>
                </a:moveTo>
                <a:lnTo>
                  <a:pt x="2087821" y="3768"/>
                </a:lnTo>
                <a:lnTo>
                  <a:pt x="2080031" y="111163"/>
                </a:lnTo>
                <a:cubicBezTo>
                  <a:pt x="2060981" y="364865"/>
                  <a:pt x="2041931" y="566477"/>
                  <a:pt x="2022881" y="934777"/>
                </a:cubicBezTo>
                <a:lnTo>
                  <a:pt x="2088195" y="1979806"/>
                </a:lnTo>
                <a:cubicBezTo>
                  <a:pt x="1728967" y="1976178"/>
                  <a:pt x="1380623" y="1950777"/>
                  <a:pt x="1021395" y="1947149"/>
                </a:cubicBezTo>
                <a:lnTo>
                  <a:pt x="11824" y="1979716"/>
                </a:lnTo>
                <a:lnTo>
                  <a:pt x="8148" y="1955630"/>
                </a:lnTo>
                <a:lnTo>
                  <a:pt x="0" y="1730682"/>
                </a:lnTo>
                <a:lnTo>
                  <a:pt x="7384" y="1584446"/>
                </a:lnTo>
                <a:cubicBezTo>
                  <a:pt x="80746" y="862070"/>
                  <a:pt x="583474" y="266624"/>
                  <a:pt x="1256340" y="57341"/>
                </a:cubicBezTo>
                <a:lnTo>
                  <a:pt x="1403788" y="19429"/>
                </a:lnTo>
                <a:lnTo>
                  <a:pt x="1478595" y="17656"/>
                </a:lnTo>
                <a:cubicBezTo>
                  <a:pt x="1648685" y="14254"/>
                  <a:pt x="1806527" y="12383"/>
                  <a:pt x="1949828" y="6303"/>
                </a:cubicBezTo>
                <a:close/>
              </a:path>
            </a:pathLst>
          </a:custGeom>
          <a:gradFill flip="none" rotWithShape="1">
            <a:gsLst>
              <a:gs pos="0">
                <a:srgbClr val="FA9E16"/>
              </a:gs>
              <a:gs pos="54000">
                <a:srgbClr val="F19105"/>
              </a:gs>
            </a:gsLst>
            <a:path path="circle">
              <a:fillToRect r="100000" b="100000"/>
            </a:path>
            <a:tileRect l="-100000" t="-10000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nvGrpSpPr>
          <p:cNvPr id="67" name="Group 66"/>
          <p:cNvGrpSpPr/>
          <p:nvPr/>
        </p:nvGrpSpPr>
        <p:grpSpPr>
          <a:xfrm>
            <a:off x="9740836" y="3784057"/>
            <a:ext cx="265163" cy="498809"/>
            <a:chOff x="2975874" y="1192498"/>
            <a:chExt cx="303950" cy="571774"/>
          </a:xfrm>
          <a:effectLst>
            <a:outerShdw blurRad="50800" dist="38100" dir="5400000" algn="t" rotWithShape="0">
              <a:prstClr val="black">
                <a:alpha val="40000"/>
              </a:prstClr>
            </a:outerShdw>
          </a:effectLst>
        </p:grpSpPr>
        <p:cxnSp>
          <p:nvCxnSpPr>
            <p:cNvPr id="68" name="Straight Connector 67"/>
            <p:cNvCxnSpPr/>
            <p:nvPr/>
          </p:nvCxnSpPr>
          <p:spPr>
            <a:xfrm>
              <a:off x="2975874" y="1243148"/>
              <a:ext cx="104775" cy="463550"/>
            </a:xfrm>
            <a:prstGeom prst="line">
              <a:avLst/>
            </a:prstGeom>
            <a:noFill/>
            <a:ln w="38100">
              <a:gradFill>
                <a:gsLst>
                  <a:gs pos="0">
                    <a:schemeClr val="accent1">
                      <a:lumMod val="5000"/>
                      <a:lumOff val="95000"/>
                    </a:schemeClr>
                  </a:gs>
                  <a:gs pos="49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cxnSp>
        <p:sp>
          <p:nvSpPr>
            <p:cNvPr id="69" name="Arc 68"/>
            <p:cNvSpPr/>
            <p:nvPr/>
          </p:nvSpPr>
          <p:spPr>
            <a:xfrm rot="2744634">
              <a:off x="3077492" y="1562682"/>
              <a:ext cx="199077" cy="204103"/>
            </a:xfrm>
            <a:prstGeom prst="arc">
              <a:avLst>
                <a:gd name="adj1" fmla="val 18217271"/>
                <a:gd name="adj2" fmla="val 6974062"/>
              </a:avLst>
            </a:prstGeom>
            <a:noFill/>
            <a:ln w="38100">
              <a:gradFill>
                <a:gsLst>
                  <a:gs pos="0">
                    <a:srgbClr val="C5C5C6"/>
                  </a:gs>
                  <a:gs pos="100000">
                    <a:schemeClr val="bg1">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cxnSp>
          <p:nvCxnSpPr>
            <p:cNvPr id="70" name="Straight Connector 69"/>
            <p:cNvCxnSpPr/>
            <p:nvPr/>
          </p:nvCxnSpPr>
          <p:spPr>
            <a:xfrm>
              <a:off x="3175049" y="1192498"/>
              <a:ext cx="104775" cy="463550"/>
            </a:xfrm>
            <a:prstGeom prst="lin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72" name="Rectangle 71"/>
          <p:cNvSpPr/>
          <p:nvPr/>
        </p:nvSpPr>
        <p:spPr>
          <a:xfrm rot="200927">
            <a:off x="9627358" y="4826604"/>
            <a:ext cx="1730692" cy="379656"/>
          </a:xfrm>
          <a:prstGeom prst="rect">
            <a:avLst/>
          </a:prstGeom>
        </p:spPr>
        <p:txBody>
          <a:bodyPr wrap="square" anchor="ctr">
            <a:spAutoFit/>
          </a:bodyPr>
          <a:lstStyle/>
          <a:p>
            <a:pPr algn="ctr"/>
            <a:endParaRPr lang="en-US" sz="1867" dirty="0">
              <a:solidFill>
                <a:schemeClr val="bg1"/>
              </a:solidFill>
            </a:endParaRPr>
          </a:p>
        </p:txBody>
      </p:sp>
      <p:sp>
        <p:nvSpPr>
          <p:cNvPr id="144" name="Rectangle 143"/>
          <p:cNvSpPr/>
          <p:nvPr/>
        </p:nvSpPr>
        <p:spPr>
          <a:xfrm>
            <a:off x="8297651" y="1955969"/>
            <a:ext cx="1715955" cy="707886"/>
          </a:xfrm>
          <a:prstGeom prst="rect">
            <a:avLst/>
          </a:prstGeom>
        </p:spPr>
        <p:txBody>
          <a:bodyPr wrap="square" anchor="ctr">
            <a:spAutoFit/>
          </a:bodyPr>
          <a:lstStyle/>
          <a:p>
            <a:pPr algn="ctr"/>
            <a:r>
              <a:rPr lang="en-US" sz="2000" b="1" dirty="0">
                <a:solidFill>
                  <a:schemeClr val="bg1"/>
                </a:solidFill>
                <a:latin typeface="Futura Lt BT" panose="020B0402020204020303"/>
              </a:rPr>
              <a:t>EDA &amp; ML Methodology  </a:t>
            </a:r>
          </a:p>
        </p:txBody>
      </p:sp>
      <p:sp>
        <p:nvSpPr>
          <p:cNvPr id="145" name="Rectangle 144"/>
          <p:cNvSpPr/>
          <p:nvPr/>
        </p:nvSpPr>
        <p:spPr>
          <a:xfrm>
            <a:off x="3192251" y="4375319"/>
            <a:ext cx="1715955" cy="707886"/>
          </a:xfrm>
          <a:prstGeom prst="rect">
            <a:avLst/>
          </a:prstGeom>
        </p:spPr>
        <p:txBody>
          <a:bodyPr wrap="square" anchor="ctr">
            <a:spAutoFit/>
          </a:bodyPr>
          <a:lstStyle/>
          <a:p>
            <a:pPr algn="ctr"/>
            <a:r>
              <a:rPr lang="en-US" sz="2000" b="1" dirty="0">
                <a:solidFill>
                  <a:schemeClr val="bg1"/>
                </a:solidFill>
                <a:latin typeface="Futura Lt BT" panose="020B0402020204020303"/>
              </a:rPr>
              <a:t>Challenges &amp; Limitations </a:t>
            </a:r>
          </a:p>
        </p:txBody>
      </p:sp>
      <p:sp>
        <p:nvSpPr>
          <p:cNvPr id="146" name="Rectangle 145"/>
          <p:cNvSpPr/>
          <p:nvPr/>
        </p:nvSpPr>
        <p:spPr>
          <a:xfrm>
            <a:off x="9583145" y="4472057"/>
            <a:ext cx="1715955" cy="400110"/>
          </a:xfrm>
          <a:prstGeom prst="rect">
            <a:avLst/>
          </a:prstGeom>
        </p:spPr>
        <p:txBody>
          <a:bodyPr wrap="square" anchor="ctr">
            <a:spAutoFit/>
          </a:bodyPr>
          <a:lstStyle/>
          <a:p>
            <a:pPr algn="ctr"/>
            <a:r>
              <a:rPr lang="en-US" sz="2000" b="1" dirty="0">
                <a:solidFill>
                  <a:schemeClr val="bg1"/>
                </a:solidFill>
                <a:latin typeface="Futura Lt BT" panose="020B0402020204020303"/>
              </a:rPr>
              <a:t>Conclusions</a:t>
            </a:r>
          </a:p>
        </p:txBody>
      </p:sp>
      <p:sp>
        <p:nvSpPr>
          <p:cNvPr id="147" name="Rectangle 146"/>
          <p:cNvSpPr/>
          <p:nvPr/>
        </p:nvSpPr>
        <p:spPr>
          <a:xfrm>
            <a:off x="6373982" y="4399129"/>
            <a:ext cx="1715955" cy="707886"/>
          </a:xfrm>
          <a:prstGeom prst="rect">
            <a:avLst/>
          </a:prstGeom>
        </p:spPr>
        <p:txBody>
          <a:bodyPr wrap="square" anchor="ctr">
            <a:spAutoFit/>
          </a:bodyPr>
          <a:lstStyle/>
          <a:p>
            <a:pPr algn="ctr"/>
            <a:r>
              <a:rPr lang="en-US" sz="2000" b="1" dirty="0">
                <a:solidFill>
                  <a:schemeClr val="bg1"/>
                </a:solidFill>
                <a:latin typeface="Futura Lt BT" panose="020B0402020204020303"/>
              </a:rPr>
              <a:t>Learnings &amp; Future scope</a:t>
            </a:r>
          </a:p>
        </p:txBody>
      </p:sp>
    </p:spTree>
    <p:extLst>
      <p:ext uri="{BB962C8B-B14F-4D97-AF65-F5344CB8AC3E}">
        <p14:creationId xmlns:p14="http://schemas.microsoft.com/office/powerpoint/2010/main" val="2420806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4" name="Title 2">
            <a:extLst>
              <a:ext uri="{FF2B5EF4-FFF2-40B4-BE49-F238E27FC236}">
                <a16:creationId xmlns:a16="http://schemas.microsoft.com/office/drawing/2014/main" id="{49CD23CB-21BE-E866-D01E-7AD1A37B9B86}"/>
              </a:ext>
            </a:extLst>
          </p:cNvPr>
          <p:cNvSpPr>
            <a:spLocks noGrp="1"/>
          </p:cNvSpPr>
          <p:nvPr>
            <p:ph type="title"/>
          </p:nvPr>
        </p:nvSpPr>
        <p:spPr>
          <a:xfrm>
            <a:off x="510809" y="328234"/>
            <a:ext cx="11553371" cy="633791"/>
          </a:xfrm>
        </p:spPr>
        <p:txBody>
          <a:bodyPr>
            <a:normAutofit fontScale="90000"/>
          </a:bodyPr>
          <a:lstStyle/>
          <a:p>
            <a:r>
              <a:rPr lang="en-SG" sz="4100" b="0" dirty="0">
                <a:latin typeface="Berlin Sans FB" panose="020E0602020502020306" pitchFamily="34" charset="0"/>
                <a:cs typeface="Helvetica" panose="020B0604020202020204" pitchFamily="34" charset="0"/>
              </a:rPr>
              <a:t> </a:t>
            </a:r>
            <a:r>
              <a:rPr lang="en-SG" sz="4600" b="0" dirty="0">
                <a:latin typeface="Berlin Sans FB" panose="020E0602020502020306" pitchFamily="34" charset="0"/>
                <a:cs typeface="Helvetica" panose="020B0604020202020204" pitchFamily="34" charset="0"/>
              </a:rPr>
              <a:t>Business Problem</a:t>
            </a:r>
            <a:endParaRPr lang="en-SG" sz="4600" b="0" dirty="0">
              <a:latin typeface="Algerian" panose="04020705040A02060702" pitchFamily="82" charset="0"/>
              <a:cs typeface="Calibri" panose="020F0502020204030204" pitchFamily="34" charset="0"/>
            </a:endParaRPr>
          </a:p>
        </p:txBody>
      </p:sp>
      <p:sp>
        <p:nvSpPr>
          <p:cNvPr id="8" name="TextBox 7">
            <a:extLst>
              <a:ext uri="{FF2B5EF4-FFF2-40B4-BE49-F238E27FC236}">
                <a16:creationId xmlns:a16="http://schemas.microsoft.com/office/drawing/2014/main" id="{3C75F09A-3A02-A695-C96C-CD9496DA5CEC}"/>
              </a:ext>
            </a:extLst>
          </p:cNvPr>
          <p:cNvSpPr txBox="1"/>
          <p:nvPr/>
        </p:nvSpPr>
        <p:spPr>
          <a:xfrm>
            <a:off x="510810" y="1252384"/>
            <a:ext cx="10997745" cy="4216539"/>
          </a:xfrm>
          <a:prstGeom prst="rect">
            <a:avLst/>
          </a:prstGeom>
          <a:noFill/>
        </p:spPr>
        <p:txBody>
          <a:bodyPr wrap="square" rtlCol="0">
            <a:spAutoFit/>
          </a:bodyPr>
          <a:lstStyle/>
          <a:p>
            <a:r>
              <a:rPr lang="en-US" sz="2400" dirty="0">
                <a:solidFill>
                  <a:schemeClr val="bg1">
                    <a:lumMod val="95000"/>
                  </a:schemeClr>
                </a:solidFill>
                <a:latin typeface="Futura Lt BT" panose="020B0402020204020303" pitchFamily="34" charset="0"/>
                <a:cs typeface="Calibri" panose="020F0502020204030204" pitchFamily="34" charset="0"/>
              </a:rPr>
              <a:t>A financial institute wants to analyze their customer’s eligibility before issuing them a credit card in order to reduce the Credit Risk.</a:t>
            </a:r>
          </a:p>
          <a:p>
            <a:endParaRPr lang="en-US" sz="2400" dirty="0">
              <a:solidFill>
                <a:schemeClr val="bg1">
                  <a:lumMod val="95000"/>
                </a:schemeClr>
              </a:solidFill>
              <a:latin typeface="Futura Lt BT" panose="020B0402020204020303" pitchFamily="34" charset="0"/>
              <a:cs typeface="Calibri" panose="020F0502020204030204" pitchFamily="34" charset="0"/>
            </a:endParaRPr>
          </a:p>
          <a:p>
            <a:r>
              <a:rPr lang="en-US" sz="2400" dirty="0">
                <a:solidFill>
                  <a:schemeClr val="bg1">
                    <a:lumMod val="95000"/>
                  </a:schemeClr>
                </a:solidFill>
                <a:latin typeface="Futura Lt BT" panose="020B0402020204020303" pitchFamily="34" charset="0"/>
                <a:cs typeface="Calibri" panose="020F0502020204030204" pitchFamily="34" charset="0"/>
              </a:rPr>
              <a:t>We are building a </a:t>
            </a:r>
            <a:r>
              <a:rPr lang="en-US" sz="2400" i="1" dirty="0">
                <a:solidFill>
                  <a:schemeClr val="accent4">
                    <a:lumMod val="60000"/>
                    <a:lumOff val="40000"/>
                  </a:schemeClr>
                </a:solidFill>
                <a:latin typeface="Futura Lt BT" panose="020B0402020204020303" pitchFamily="34" charset="0"/>
                <a:cs typeface="Calibri" panose="020F0502020204030204" pitchFamily="34" charset="0"/>
              </a:rPr>
              <a:t>“</a:t>
            </a:r>
            <a:r>
              <a:rPr lang="en-US" sz="2400" b="1" i="1" dirty="0">
                <a:solidFill>
                  <a:schemeClr val="accent4">
                    <a:lumMod val="60000"/>
                    <a:lumOff val="40000"/>
                  </a:schemeClr>
                </a:solidFill>
                <a:latin typeface="Futura Lt BT" panose="020B0402020204020303" pitchFamily="34" charset="0"/>
                <a:cs typeface="Calibri" panose="020F0502020204030204" pitchFamily="34" charset="0"/>
              </a:rPr>
              <a:t>Predictive Model to help financial institutions to derive whether an Applicant is eligible or non-eligible for their product – credit card”.</a:t>
            </a:r>
          </a:p>
          <a:p>
            <a:endParaRPr lang="en-US" sz="2400" b="1" i="1" dirty="0">
              <a:solidFill>
                <a:schemeClr val="accent4">
                  <a:lumMod val="60000"/>
                  <a:lumOff val="40000"/>
                </a:schemeClr>
              </a:solidFill>
              <a:latin typeface="Futura Lt BT" panose="020B0402020204020303" pitchFamily="34" charset="0"/>
              <a:cs typeface="Calibri" panose="020F0502020204030204" pitchFamily="34" charset="0"/>
            </a:endParaRPr>
          </a:p>
          <a:p>
            <a:pPr algn="l"/>
            <a:r>
              <a:rPr lang="en-US" sz="2400" dirty="0">
                <a:solidFill>
                  <a:schemeClr val="bg1">
                    <a:lumMod val="95000"/>
                  </a:schemeClr>
                </a:solidFill>
                <a:effectLst/>
                <a:latin typeface="Futura Lt BT" panose="020B0402020204020303" pitchFamily="34" charset="0"/>
                <a:cs typeface="Calibri" panose="020F0502020204030204" pitchFamily="34" charset="0"/>
              </a:rPr>
              <a:t>Credit cards or loans are the core business of banks. The main profit comes directly from the loan's interest. The loan companies grant a loan after an intensive verification and validation process. However, they still don't have an assurance that the applicant can repay the loan with no difficulties.</a:t>
            </a:r>
          </a:p>
          <a:p>
            <a:pPr algn="l"/>
            <a:r>
              <a:rPr lang="en-US" sz="2800" i="1" dirty="0">
                <a:solidFill>
                  <a:schemeClr val="bg1"/>
                </a:solidFill>
                <a:effectLst/>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43851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grpSp>
        <p:nvGrpSpPr>
          <p:cNvPr id="26" name="Group 25"/>
          <p:cNvGrpSpPr/>
          <p:nvPr/>
        </p:nvGrpSpPr>
        <p:grpSpPr>
          <a:xfrm>
            <a:off x="495297" y="1530805"/>
            <a:ext cx="11068053" cy="3803196"/>
            <a:chOff x="371472" y="1076665"/>
            <a:chExt cx="8150735" cy="3060366"/>
          </a:xfrm>
        </p:grpSpPr>
        <p:sp>
          <p:nvSpPr>
            <p:cNvPr id="27" name="Round Single Corner Rectangle 26"/>
            <p:cNvSpPr/>
            <p:nvPr/>
          </p:nvSpPr>
          <p:spPr bwMode="auto">
            <a:xfrm>
              <a:off x="448680" y="1088857"/>
              <a:ext cx="8073527" cy="3048174"/>
            </a:xfrm>
            <a:prstGeom prst="round1Rect">
              <a:avLst/>
            </a:prstGeom>
            <a:solidFill>
              <a:srgbClr val="E0E0E0"/>
            </a:solidFill>
            <a:ln w="12700"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noAutofit/>
            </a:bodyPr>
            <a:lstStyle/>
            <a:p>
              <a:pPr defTabSz="1219170">
                <a:buClrTx/>
              </a:pPr>
              <a:endParaRPr lang="en-US" sz="1867" dirty="0">
                <a:latin typeface="Arial" charset="0"/>
              </a:endParaRPr>
            </a:p>
          </p:txBody>
        </p:sp>
        <p:sp>
          <p:nvSpPr>
            <p:cNvPr id="28" name="Freeform 20"/>
            <p:cNvSpPr>
              <a:spLocks/>
            </p:cNvSpPr>
            <p:nvPr/>
          </p:nvSpPr>
          <p:spPr bwMode="auto">
            <a:xfrm flipH="1">
              <a:off x="371472" y="1673233"/>
              <a:ext cx="77209" cy="189834"/>
            </a:xfrm>
            <a:custGeom>
              <a:avLst/>
              <a:gdLst/>
              <a:ahLst/>
              <a:cxnLst>
                <a:cxn ang="0">
                  <a:pos x="0" y="74"/>
                </a:cxn>
                <a:cxn ang="0">
                  <a:pos x="0" y="62"/>
                </a:cxn>
                <a:cxn ang="0">
                  <a:pos x="0" y="38"/>
                </a:cxn>
                <a:cxn ang="0">
                  <a:pos x="0" y="0"/>
                </a:cxn>
                <a:cxn ang="0">
                  <a:pos x="3" y="1"/>
                </a:cxn>
                <a:cxn ang="0">
                  <a:pos x="8" y="4"/>
                </a:cxn>
                <a:cxn ang="0">
                  <a:pos x="26" y="16"/>
                </a:cxn>
                <a:cxn ang="0">
                  <a:pos x="39" y="36"/>
                </a:cxn>
                <a:cxn ang="0">
                  <a:pos x="36" y="51"/>
                </a:cxn>
                <a:cxn ang="0">
                  <a:pos x="28" y="61"/>
                </a:cxn>
                <a:cxn ang="0">
                  <a:pos x="17" y="68"/>
                </a:cxn>
                <a:cxn ang="0">
                  <a:pos x="10" y="71"/>
                </a:cxn>
                <a:cxn ang="0">
                  <a:pos x="0" y="74"/>
                </a:cxn>
              </a:cxnLst>
              <a:rect l="0" t="0" r="r" b="b"/>
              <a:pathLst>
                <a:path w="39" h="74">
                  <a:moveTo>
                    <a:pt x="0" y="74"/>
                  </a:moveTo>
                  <a:cubicBezTo>
                    <a:pt x="0" y="70"/>
                    <a:pt x="0" y="66"/>
                    <a:pt x="0" y="62"/>
                  </a:cubicBezTo>
                  <a:cubicBezTo>
                    <a:pt x="0" y="54"/>
                    <a:pt x="0" y="46"/>
                    <a:pt x="0" y="38"/>
                  </a:cubicBezTo>
                  <a:cubicBezTo>
                    <a:pt x="0" y="25"/>
                    <a:pt x="0" y="13"/>
                    <a:pt x="0" y="0"/>
                  </a:cubicBezTo>
                  <a:cubicBezTo>
                    <a:pt x="0" y="0"/>
                    <a:pt x="1" y="1"/>
                    <a:pt x="3" y="1"/>
                  </a:cubicBezTo>
                  <a:cubicBezTo>
                    <a:pt x="4" y="2"/>
                    <a:pt x="6" y="3"/>
                    <a:pt x="8" y="4"/>
                  </a:cubicBezTo>
                  <a:cubicBezTo>
                    <a:pt x="14" y="7"/>
                    <a:pt x="20" y="11"/>
                    <a:pt x="26" y="16"/>
                  </a:cubicBezTo>
                  <a:cubicBezTo>
                    <a:pt x="32" y="21"/>
                    <a:pt x="37" y="28"/>
                    <a:pt x="39" y="36"/>
                  </a:cubicBezTo>
                  <a:cubicBezTo>
                    <a:pt x="39" y="41"/>
                    <a:pt x="39" y="46"/>
                    <a:pt x="36" y="51"/>
                  </a:cubicBezTo>
                  <a:cubicBezTo>
                    <a:pt x="34" y="54"/>
                    <a:pt x="32" y="58"/>
                    <a:pt x="28" y="61"/>
                  </a:cubicBezTo>
                  <a:cubicBezTo>
                    <a:pt x="25" y="63"/>
                    <a:pt x="22" y="66"/>
                    <a:pt x="17" y="68"/>
                  </a:cubicBezTo>
                  <a:cubicBezTo>
                    <a:pt x="15" y="69"/>
                    <a:pt x="13" y="70"/>
                    <a:pt x="10" y="71"/>
                  </a:cubicBezTo>
                  <a:cubicBezTo>
                    <a:pt x="7" y="72"/>
                    <a:pt x="4" y="73"/>
                    <a:pt x="0" y="74"/>
                  </a:cubicBezTo>
                  <a:close/>
                </a:path>
              </a:pathLst>
            </a:custGeom>
            <a:gradFill>
              <a:gsLst>
                <a:gs pos="0">
                  <a:schemeClr val="accent5">
                    <a:lumMod val="75000"/>
                  </a:schemeClr>
                </a:gs>
                <a:gs pos="60000">
                  <a:schemeClr val="accent5"/>
                </a:gs>
              </a:gsLst>
              <a:lin ang="5400000" scaled="0"/>
            </a:gradFill>
            <a:ln w="9525">
              <a:noFill/>
              <a:round/>
              <a:headEnd/>
              <a:tailEnd/>
            </a:ln>
          </p:spPr>
          <p:txBody>
            <a:bodyPr vert="horz" wrap="square" lIns="121920" tIns="60960" rIns="121920" bIns="60960" numCol="1" anchor="t" anchorCtr="0" compatLnSpc="1">
              <a:prstTxWarp prst="textNoShape">
                <a:avLst/>
              </a:prstTxWarp>
              <a:noAutofit/>
            </a:bodyPr>
            <a:lstStyle/>
            <a:p>
              <a:endParaRPr lang="en-US" sz="1867" dirty="0"/>
            </a:p>
          </p:txBody>
        </p:sp>
        <p:sp>
          <p:nvSpPr>
            <p:cNvPr id="29" name="Freeform 20"/>
            <p:cNvSpPr>
              <a:spLocks/>
            </p:cNvSpPr>
            <p:nvPr/>
          </p:nvSpPr>
          <p:spPr bwMode="auto">
            <a:xfrm flipH="1">
              <a:off x="371472" y="2722283"/>
              <a:ext cx="77209" cy="189834"/>
            </a:xfrm>
            <a:custGeom>
              <a:avLst/>
              <a:gdLst/>
              <a:ahLst/>
              <a:cxnLst>
                <a:cxn ang="0">
                  <a:pos x="0" y="74"/>
                </a:cxn>
                <a:cxn ang="0">
                  <a:pos x="0" y="62"/>
                </a:cxn>
                <a:cxn ang="0">
                  <a:pos x="0" y="38"/>
                </a:cxn>
                <a:cxn ang="0">
                  <a:pos x="0" y="0"/>
                </a:cxn>
                <a:cxn ang="0">
                  <a:pos x="3" y="1"/>
                </a:cxn>
                <a:cxn ang="0">
                  <a:pos x="8" y="4"/>
                </a:cxn>
                <a:cxn ang="0">
                  <a:pos x="26" y="16"/>
                </a:cxn>
                <a:cxn ang="0">
                  <a:pos x="39" y="36"/>
                </a:cxn>
                <a:cxn ang="0">
                  <a:pos x="36" y="51"/>
                </a:cxn>
                <a:cxn ang="0">
                  <a:pos x="28" y="61"/>
                </a:cxn>
                <a:cxn ang="0">
                  <a:pos x="17" y="68"/>
                </a:cxn>
                <a:cxn ang="0">
                  <a:pos x="10" y="71"/>
                </a:cxn>
                <a:cxn ang="0">
                  <a:pos x="0" y="74"/>
                </a:cxn>
              </a:cxnLst>
              <a:rect l="0" t="0" r="r" b="b"/>
              <a:pathLst>
                <a:path w="39" h="74">
                  <a:moveTo>
                    <a:pt x="0" y="74"/>
                  </a:moveTo>
                  <a:cubicBezTo>
                    <a:pt x="0" y="70"/>
                    <a:pt x="0" y="66"/>
                    <a:pt x="0" y="62"/>
                  </a:cubicBezTo>
                  <a:cubicBezTo>
                    <a:pt x="0" y="54"/>
                    <a:pt x="0" y="46"/>
                    <a:pt x="0" y="38"/>
                  </a:cubicBezTo>
                  <a:cubicBezTo>
                    <a:pt x="0" y="25"/>
                    <a:pt x="0" y="13"/>
                    <a:pt x="0" y="0"/>
                  </a:cubicBezTo>
                  <a:cubicBezTo>
                    <a:pt x="0" y="0"/>
                    <a:pt x="1" y="1"/>
                    <a:pt x="3" y="1"/>
                  </a:cubicBezTo>
                  <a:cubicBezTo>
                    <a:pt x="4" y="2"/>
                    <a:pt x="6" y="3"/>
                    <a:pt x="8" y="4"/>
                  </a:cubicBezTo>
                  <a:cubicBezTo>
                    <a:pt x="14" y="7"/>
                    <a:pt x="20" y="11"/>
                    <a:pt x="26" y="16"/>
                  </a:cubicBezTo>
                  <a:cubicBezTo>
                    <a:pt x="32" y="21"/>
                    <a:pt x="37" y="28"/>
                    <a:pt x="39" y="36"/>
                  </a:cubicBezTo>
                  <a:cubicBezTo>
                    <a:pt x="39" y="41"/>
                    <a:pt x="39" y="46"/>
                    <a:pt x="36" y="51"/>
                  </a:cubicBezTo>
                  <a:cubicBezTo>
                    <a:pt x="34" y="54"/>
                    <a:pt x="32" y="58"/>
                    <a:pt x="28" y="61"/>
                  </a:cubicBezTo>
                  <a:cubicBezTo>
                    <a:pt x="25" y="63"/>
                    <a:pt x="22" y="66"/>
                    <a:pt x="17" y="68"/>
                  </a:cubicBezTo>
                  <a:cubicBezTo>
                    <a:pt x="15" y="69"/>
                    <a:pt x="13" y="70"/>
                    <a:pt x="10" y="71"/>
                  </a:cubicBezTo>
                  <a:cubicBezTo>
                    <a:pt x="7" y="72"/>
                    <a:pt x="4" y="73"/>
                    <a:pt x="0" y="74"/>
                  </a:cubicBezTo>
                  <a:close/>
                </a:path>
              </a:pathLst>
            </a:custGeom>
            <a:gradFill>
              <a:gsLst>
                <a:gs pos="0">
                  <a:schemeClr val="tx2">
                    <a:lumMod val="75000"/>
                  </a:schemeClr>
                </a:gs>
                <a:gs pos="60000">
                  <a:schemeClr val="tx2"/>
                </a:gs>
              </a:gsLst>
              <a:lin ang="5400000" scaled="0"/>
            </a:gradFill>
            <a:ln w="9525">
              <a:noFill/>
              <a:round/>
              <a:headEnd/>
              <a:tailEnd/>
            </a:ln>
          </p:spPr>
          <p:txBody>
            <a:bodyPr vert="horz" wrap="square" lIns="121920" tIns="60960" rIns="121920" bIns="60960" numCol="1" anchor="t" anchorCtr="0" compatLnSpc="1">
              <a:prstTxWarp prst="textNoShape">
                <a:avLst/>
              </a:prstTxWarp>
              <a:noAutofit/>
            </a:bodyPr>
            <a:lstStyle/>
            <a:p>
              <a:endParaRPr lang="en-US" sz="1867" dirty="0"/>
            </a:p>
          </p:txBody>
        </p:sp>
        <p:sp>
          <p:nvSpPr>
            <p:cNvPr id="30" name="Freeform 20"/>
            <p:cNvSpPr>
              <a:spLocks/>
            </p:cNvSpPr>
            <p:nvPr/>
          </p:nvSpPr>
          <p:spPr bwMode="auto">
            <a:xfrm flipH="1">
              <a:off x="371472" y="3771333"/>
              <a:ext cx="77209" cy="189834"/>
            </a:xfrm>
            <a:custGeom>
              <a:avLst/>
              <a:gdLst/>
              <a:ahLst/>
              <a:cxnLst>
                <a:cxn ang="0">
                  <a:pos x="0" y="74"/>
                </a:cxn>
                <a:cxn ang="0">
                  <a:pos x="0" y="62"/>
                </a:cxn>
                <a:cxn ang="0">
                  <a:pos x="0" y="38"/>
                </a:cxn>
                <a:cxn ang="0">
                  <a:pos x="0" y="0"/>
                </a:cxn>
                <a:cxn ang="0">
                  <a:pos x="3" y="1"/>
                </a:cxn>
                <a:cxn ang="0">
                  <a:pos x="8" y="4"/>
                </a:cxn>
                <a:cxn ang="0">
                  <a:pos x="26" y="16"/>
                </a:cxn>
                <a:cxn ang="0">
                  <a:pos x="39" y="36"/>
                </a:cxn>
                <a:cxn ang="0">
                  <a:pos x="36" y="51"/>
                </a:cxn>
                <a:cxn ang="0">
                  <a:pos x="28" y="61"/>
                </a:cxn>
                <a:cxn ang="0">
                  <a:pos x="17" y="68"/>
                </a:cxn>
                <a:cxn ang="0">
                  <a:pos x="10" y="71"/>
                </a:cxn>
                <a:cxn ang="0">
                  <a:pos x="0" y="74"/>
                </a:cxn>
              </a:cxnLst>
              <a:rect l="0" t="0" r="r" b="b"/>
              <a:pathLst>
                <a:path w="39" h="74">
                  <a:moveTo>
                    <a:pt x="0" y="74"/>
                  </a:moveTo>
                  <a:cubicBezTo>
                    <a:pt x="0" y="70"/>
                    <a:pt x="0" y="66"/>
                    <a:pt x="0" y="62"/>
                  </a:cubicBezTo>
                  <a:cubicBezTo>
                    <a:pt x="0" y="54"/>
                    <a:pt x="0" y="46"/>
                    <a:pt x="0" y="38"/>
                  </a:cubicBezTo>
                  <a:cubicBezTo>
                    <a:pt x="0" y="25"/>
                    <a:pt x="0" y="13"/>
                    <a:pt x="0" y="0"/>
                  </a:cubicBezTo>
                  <a:cubicBezTo>
                    <a:pt x="0" y="0"/>
                    <a:pt x="1" y="1"/>
                    <a:pt x="3" y="1"/>
                  </a:cubicBezTo>
                  <a:cubicBezTo>
                    <a:pt x="4" y="2"/>
                    <a:pt x="6" y="3"/>
                    <a:pt x="8" y="4"/>
                  </a:cubicBezTo>
                  <a:cubicBezTo>
                    <a:pt x="14" y="7"/>
                    <a:pt x="20" y="11"/>
                    <a:pt x="26" y="16"/>
                  </a:cubicBezTo>
                  <a:cubicBezTo>
                    <a:pt x="32" y="21"/>
                    <a:pt x="37" y="28"/>
                    <a:pt x="39" y="36"/>
                  </a:cubicBezTo>
                  <a:cubicBezTo>
                    <a:pt x="39" y="41"/>
                    <a:pt x="39" y="46"/>
                    <a:pt x="36" y="51"/>
                  </a:cubicBezTo>
                  <a:cubicBezTo>
                    <a:pt x="34" y="54"/>
                    <a:pt x="32" y="58"/>
                    <a:pt x="28" y="61"/>
                  </a:cubicBezTo>
                  <a:cubicBezTo>
                    <a:pt x="25" y="63"/>
                    <a:pt x="22" y="66"/>
                    <a:pt x="17" y="68"/>
                  </a:cubicBezTo>
                  <a:cubicBezTo>
                    <a:pt x="15" y="69"/>
                    <a:pt x="13" y="70"/>
                    <a:pt x="10" y="71"/>
                  </a:cubicBezTo>
                  <a:cubicBezTo>
                    <a:pt x="7" y="72"/>
                    <a:pt x="4" y="73"/>
                    <a:pt x="0" y="74"/>
                  </a:cubicBezTo>
                  <a:close/>
                </a:path>
              </a:pathLst>
            </a:custGeom>
            <a:gradFill>
              <a:gsLst>
                <a:gs pos="0">
                  <a:schemeClr val="accent1">
                    <a:lumMod val="75000"/>
                  </a:schemeClr>
                </a:gs>
                <a:gs pos="60000">
                  <a:schemeClr val="accent1"/>
                </a:gs>
              </a:gsLst>
              <a:lin ang="5400000" scaled="0"/>
            </a:gradFill>
            <a:ln w="9525">
              <a:noFill/>
              <a:round/>
              <a:headEnd/>
              <a:tailEnd/>
            </a:ln>
          </p:spPr>
          <p:txBody>
            <a:bodyPr vert="horz" wrap="square" lIns="121920" tIns="60960" rIns="121920" bIns="60960" numCol="1" anchor="t" anchorCtr="0" compatLnSpc="1">
              <a:prstTxWarp prst="textNoShape">
                <a:avLst/>
              </a:prstTxWarp>
              <a:noAutofit/>
            </a:bodyPr>
            <a:lstStyle/>
            <a:p>
              <a:endParaRPr lang="en-US" sz="1867" dirty="0"/>
            </a:p>
          </p:txBody>
        </p:sp>
        <p:sp>
          <p:nvSpPr>
            <p:cNvPr id="31" name="Freeform 30"/>
            <p:cNvSpPr>
              <a:spLocks/>
            </p:cNvSpPr>
            <p:nvPr/>
          </p:nvSpPr>
          <p:spPr bwMode="auto">
            <a:xfrm>
              <a:off x="371472" y="1076665"/>
              <a:ext cx="2143548" cy="701991"/>
            </a:xfrm>
            <a:custGeom>
              <a:avLst/>
              <a:gdLst>
                <a:gd name="T0" fmla="*/ 656 w 760"/>
                <a:gd name="T1" fmla="*/ 186 h 212"/>
                <a:gd name="T2" fmla="*/ 44 w 760"/>
                <a:gd name="T3" fmla="*/ 186 h 212"/>
                <a:gd name="T4" fmla="*/ 43 w 760"/>
                <a:gd name="T5" fmla="*/ 186 h 212"/>
                <a:gd name="T6" fmla="*/ 32 w 760"/>
                <a:gd name="T7" fmla="*/ 187 h 212"/>
                <a:gd name="T8" fmla="*/ 16 w 760"/>
                <a:gd name="T9" fmla="*/ 192 h 212"/>
                <a:gd name="T10" fmla="*/ 0 w 760"/>
                <a:gd name="T11" fmla="*/ 212 h 212"/>
                <a:gd name="T12" fmla="*/ 0 w 760"/>
                <a:gd name="T13" fmla="*/ 209 h 212"/>
                <a:gd name="T14" fmla="*/ 0 w 760"/>
                <a:gd name="T15" fmla="*/ 189 h 212"/>
                <a:gd name="T16" fmla="*/ 0 w 760"/>
                <a:gd name="T17" fmla="*/ 52 h 212"/>
                <a:gd name="T18" fmla="*/ 0 w 760"/>
                <a:gd name="T19" fmla="*/ 28 h 212"/>
                <a:gd name="T20" fmla="*/ 14 w 760"/>
                <a:gd name="T21" fmla="*/ 8 h 212"/>
                <a:gd name="T22" fmla="*/ 30 w 760"/>
                <a:gd name="T23" fmla="*/ 2 h 212"/>
                <a:gd name="T24" fmla="*/ 42 w 760"/>
                <a:gd name="T25" fmla="*/ 0 h 212"/>
                <a:gd name="T26" fmla="*/ 43 w 760"/>
                <a:gd name="T27" fmla="*/ 0 h 212"/>
                <a:gd name="T28" fmla="*/ 44 w 760"/>
                <a:gd name="T29" fmla="*/ 0 h 212"/>
                <a:gd name="T30" fmla="*/ 656 w 760"/>
                <a:gd name="T31" fmla="*/ 0 h 212"/>
                <a:gd name="T32" fmla="*/ 760 w 760"/>
                <a:gd name="T33" fmla="*/ 92 h 212"/>
                <a:gd name="T34" fmla="*/ 656 w 760"/>
                <a:gd name="T35" fmla="*/ 18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0" h="212">
                  <a:moveTo>
                    <a:pt x="656" y="186"/>
                  </a:moveTo>
                  <a:cubicBezTo>
                    <a:pt x="610" y="186"/>
                    <a:pt x="153" y="186"/>
                    <a:pt x="44" y="186"/>
                  </a:cubicBezTo>
                  <a:cubicBezTo>
                    <a:pt x="43" y="186"/>
                    <a:pt x="43" y="186"/>
                    <a:pt x="43" y="186"/>
                  </a:cubicBezTo>
                  <a:cubicBezTo>
                    <a:pt x="39" y="186"/>
                    <a:pt x="35" y="187"/>
                    <a:pt x="32" y="187"/>
                  </a:cubicBezTo>
                  <a:cubicBezTo>
                    <a:pt x="27" y="188"/>
                    <a:pt x="21" y="190"/>
                    <a:pt x="16" y="192"/>
                  </a:cubicBezTo>
                  <a:cubicBezTo>
                    <a:pt x="8" y="196"/>
                    <a:pt x="2" y="202"/>
                    <a:pt x="0" y="212"/>
                  </a:cubicBezTo>
                  <a:cubicBezTo>
                    <a:pt x="0" y="210"/>
                    <a:pt x="0" y="209"/>
                    <a:pt x="0" y="209"/>
                  </a:cubicBezTo>
                  <a:cubicBezTo>
                    <a:pt x="0" y="202"/>
                    <a:pt x="0" y="196"/>
                    <a:pt x="0" y="189"/>
                  </a:cubicBezTo>
                  <a:cubicBezTo>
                    <a:pt x="0" y="143"/>
                    <a:pt x="0" y="98"/>
                    <a:pt x="0" y="52"/>
                  </a:cubicBezTo>
                  <a:cubicBezTo>
                    <a:pt x="0" y="44"/>
                    <a:pt x="0" y="36"/>
                    <a:pt x="0" y="28"/>
                  </a:cubicBezTo>
                  <a:cubicBezTo>
                    <a:pt x="1" y="18"/>
                    <a:pt x="6" y="12"/>
                    <a:pt x="14" y="8"/>
                  </a:cubicBezTo>
                  <a:cubicBezTo>
                    <a:pt x="19" y="5"/>
                    <a:pt x="25" y="3"/>
                    <a:pt x="30" y="2"/>
                  </a:cubicBezTo>
                  <a:cubicBezTo>
                    <a:pt x="35" y="1"/>
                    <a:pt x="40" y="0"/>
                    <a:pt x="42" y="0"/>
                  </a:cubicBezTo>
                  <a:cubicBezTo>
                    <a:pt x="43" y="0"/>
                    <a:pt x="43" y="0"/>
                    <a:pt x="43" y="0"/>
                  </a:cubicBezTo>
                  <a:cubicBezTo>
                    <a:pt x="44" y="0"/>
                    <a:pt x="44" y="0"/>
                    <a:pt x="44" y="0"/>
                  </a:cubicBezTo>
                  <a:cubicBezTo>
                    <a:pt x="164" y="0"/>
                    <a:pt x="620" y="0"/>
                    <a:pt x="656" y="0"/>
                  </a:cubicBezTo>
                  <a:cubicBezTo>
                    <a:pt x="723" y="0"/>
                    <a:pt x="760" y="50"/>
                    <a:pt x="760" y="92"/>
                  </a:cubicBezTo>
                  <a:cubicBezTo>
                    <a:pt x="760" y="134"/>
                    <a:pt x="731" y="186"/>
                    <a:pt x="656" y="186"/>
                  </a:cubicBezTo>
                  <a:close/>
                </a:path>
              </a:pathLst>
            </a:custGeom>
            <a:solidFill>
              <a:srgbClr val="048CBC"/>
            </a:solidFill>
            <a:ln w="9525">
              <a:noFill/>
              <a:round/>
              <a:headEnd/>
              <a:tailEnd/>
            </a:ln>
            <a:effectLst>
              <a:outerShdw blurRad="50800" dist="25400" dir="5400000" algn="t" rotWithShape="0">
                <a:prstClr val="black">
                  <a:alpha val="40000"/>
                </a:prstClr>
              </a:outerShdw>
            </a:effectLst>
          </p:spPr>
          <p:txBody>
            <a:bodyPr vert="horz" wrap="square" lIns="121920" tIns="60960" rIns="121920" bIns="60960" numCol="1" anchor="t" anchorCtr="0" compatLnSpc="1">
              <a:prstTxWarp prst="textNoShape">
                <a:avLst/>
              </a:prstTxWarp>
              <a:noAutofit/>
            </a:bodyPr>
            <a:lstStyle/>
            <a:p>
              <a:endParaRPr lang="en-US" sz="1867" dirty="0"/>
            </a:p>
          </p:txBody>
        </p:sp>
        <p:sp>
          <p:nvSpPr>
            <p:cNvPr id="32" name="Oval 31"/>
            <p:cNvSpPr/>
            <p:nvPr/>
          </p:nvSpPr>
          <p:spPr bwMode="auto">
            <a:xfrm>
              <a:off x="1931600" y="1122809"/>
              <a:ext cx="526019" cy="526020"/>
            </a:xfrm>
            <a:prstGeom prst="ellipse">
              <a:avLst/>
            </a:prstGeom>
            <a:solidFill>
              <a:schemeClr val="bg1"/>
            </a:solidFill>
            <a:ln w="12700" cap="flat" cmpd="sng" algn="ctr">
              <a:noFill/>
              <a:prstDash val="solid"/>
              <a:round/>
              <a:headEnd type="none" w="med" len="med"/>
              <a:tailEnd type="none" w="med" len="med"/>
            </a:ln>
            <a:effectLst>
              <a:innerShdw blurRad="114300">
                <a:prstClr val="black">
                  <a:alpha val="60000"/>
                </a:prstClr>
              </a:innerShdw>
            </a:effectLst>
          </p:spPr>
          <p:txBody>
            <a:bodyPr vert="horz" wrap="none" lIns="121920" tIns="60960" rIns="121920" bIns="60960" numCol="1" rtlCol="0" anchor="ctr" anchorCtr="0" compatLnSpc="1">
              <a:prstTxWarp prst="textNoShape">
                <a:avLst/>
              </a:prstTxWarp>
              <a:noAutofit/>
            </a:bodyPr>
            <a:lstStyle/>
            <a:p>
              <a:pPr algn="ctr" defTabSz="1219170" fontAlgn="base">
                <a:spcBef>
                  <a:spcPct val="0"/>
                </a:spcBef>
                <a:spcAft>
                  <a:spcPct val="0"/>
                </a:spcAft>
                <a:buClrTx/>
              </a:pPr>
              <a:r>
                <a:rPr lang="en-US" sz="5333" dirty="0">
                  <a:solidFill>
                    <a:srgbClr val="0085B4"/>
                  </a:solidFill>
                  <a:latin typeface="+mj-lt"/>
                </a:rPr>
                <a:t>1</a:t>
              </a:r>
            </a:p>
          </p:txBody>
        </p:sp>
        <p:sp>
          <p:nvSpPr>
            <p:cNvPr id="33" name="Freeform 32"/>
            <p:cNvSpPr>
              <a:spLocks/>
            </p:cNvSpPr>
            <p:nvPr/>
          </p:nvSpPr>
          <p:spPr bwMode="auto">
            <a:xfrm>
              <a:off x="371472" y="2087393"/>
              <a:ext cx="2143548" cy="701991"/>
            </a:xfrm>
            <a:custGeom>
              <a:avLst/>
              <a:gdLst>
                <a:gd name="T0" fmla="*/ 656 w 760"/>
                <a:gd name="T1" fmla="*/ 186 h 212"/>
                <a:gd name="T2" fmla="*/ 44 w 760"/>
                <a:gd name="T3" fmla="*/ 186 h 212"/>
                <a:gd name="T4" fmla="*/ 43 w 760"/>
                <a:gd name="T5" fmla="*/ 186 h 212"/>
                <a:gd name="T6" fmla="*/ 32 w 760"/>
                <a:gd name="T7" fmla="*/ 187 h 212"/>
                <a:gd name="T8" fmla="*/ 16 w 760"/>
                <a:gd name="T9" fmla="*/ 192 h 212"/>
                <a:gd name="T10" fmla="*/ 0 w 760"/>
                <a:gd name="T11" fmla="*/ 212 h 212"/>
                <a:gd name="T12" fmla="*/ 0 w 760"/>
                <a:gd name="T13" fmla="*/ 209 h 212"/>
                <a:gd name="T14" fmla="*/ 0 w 760"/>
                <a:gd name="T15" fmla="*/ 189 h 212"/>
                <a:gd name="T16" fmla="*/ 0 w 760"/>
                <a:gd name="T17" fmla="*/ 52 h 212"/>
                <a:gd name="T18" fmla="*/ 0 w 760"/>
                <a:gd name="T19" fmla="*/ 28 h 212"/>
                <a:gd name="T20" fmla="*/ 14 w 760"/>
                <a:gd name="T21" fmla="*/ 8 h 212"/>
                <a:gd name="T22" fmla="*/ 30 w 760"/>
                <a:gd name="T23" fmla="*/ 2 h 212"/>
                <a:gd name="T24" fmla="*/ 42 w 760"/>
                <a:gd name="T25" fmla="*/ 0 h 212"/>
                <a:gd name="T26" fmla="*/ 43 w 760"/>
                <a:gd name="T27" fmla="*/ 0 h 212"/>
                <a:gd name="T28" fmla="*/ 44 w 760"/>
                <a:gd name="T29" fmla="*/ 0 h 212"/>
                <a:gd name="T30" fmla="*/ 656 w 760"/>
                <a:gd name="T31" fmla="*/ 0 h 212"/>
                <a:gd name="T32" fmla="*/ 760 w 760"/>
                <a:gd name="T33" fmla="*/ 92 h 212"/>
                <a:gd name="T34" fmla="*/ 656 w 760"/>
                <a:gd name="T35" fmla="*/ 18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0" h="212">
                  <a:moveTo>
                    <a:pt x="656" y="186"/>
                  </a:moveTo>
                  <a:cubicBezTo>
                    <a:pt x="610" y="186"/>
                    <a:pt x="153" y="186"/>
                    <a:pt x="44" y="186"/>
                  </a:cubicBezTo>
                  <a:cubicBezTo>
                    <a:pt x="43" y="186"/>
                    <a:pt x="43" y="186"/>
                    <a:pt x="43" y="186"/>
                  </a:cubicBezTo>
                  <a:cubicBezTo>
                    <a:pt x="39" y="186"/>
                    <a:pt x="35" y="187"/>
                    <a:pt x="32" y="187"/>
                  </a:cubicBezTo>
                  <a:cubicBezTo>
                    <a:pt x="27" y="188"/>
                    <a:pt x="21" y="190"/>
                    <a:pt x="16" y="192"/>
                  </a:cubicBezTo>
                  <a:cubicBezTo>
                    <a:pt x="8" y="196"/>
                    <a:pt x="2" y="202"/>
                    <a:pt x="0" y="212"/>
                  </a:cubicBezTo>
                  <a:cubicBezTo>
                    <a:pt x="0" y="210"/>
                    <a:pt x="0" y="209"/>
                    <a:pt x="0" y="209"/>
                  </a:cubicBezTo>
                  <a:cubicBezTo>
                    <a:pt x="0" y="202"/>
                    <a:pt x="0" y="196"/>
                    <a:pt x="0" y="189"/>
                  </a:cubicBezTo>
                  <a:cubicBezTo>
                    <a:pt x="0" y="143"/>
                    <a:pt x="0" y="98"/>
                    <a:pt x="0" y="52"/>
                  </a:cubicBezTo>
                  <a:cubicBezTo>
                    <a:pt x="0" y="44"/>
                    <a:pt x="0" y="36"/>
                    <a:pt x="0" y="28"/>
                  </a:cubicBezTo>
                  <a:cubicBezTo>
                    <a:pt x="1" y="18"/>
                    <a:pt x="6" y="12"/>
                    <a:pt x="14" y="8"/>
                  </a:cubicBezTo>
                  <a:cubicBezTo>
                    <a:pt x="19" y="5"/>
                    <a:pt x="25" y="3"/>
                    <a:pt x="30" y="2"/>
                  </a:cubicBezTo>
                  <a:cubicBezTo>
                    <a:pt x="35" y="1"/>
                    <a:pt x="40" y="0"/>
                    <a:pt x="42" y="0"/>
                  </a:cubicBezTo>
                  <a:cubicBezTo>
                    <a:pt x="43" y="0"/>
                    <a:pt x="43" y="0"/>
                    <a:pt x="43" y="0"/>
                  </a:cubicBezTo>
                  <a:cubicBezTo>
                    <a:pt x="44" y="0"/>
                    <a:pt x="44" y="0"/>
                    <a:pt x="44" y="0"/>
                  </a:cubicBezTo>
                  <a:cubicBezTo>
                    <a:pt x="164" y="0"/>
                    <a:pt x="620" y="0"/>
                    <a:pt x="656" y="0"/>
                  </a:cubicBezTo>
                  <a:cubicBezTo>
                    <a:pt x="723" y="0"/>
                    <a:pt x="760" y="50"/>
                    <a:pt x="760" y="92"/>
                  </a:cubicBezTo>
                  <a:cubicBezTo>
                    <a:pt x="760" y="134"/>
                    <a:pt x="731" y="186"/>
                    <a:pt x="656" y="186"/>
                  </a:cubicBezTo>
                  <a:close/>
                </a:path>
              </a:pathLst>
            </a:custGeom>
            <a:solidFill>
              <a:srgbClr val="36A3C9"/>
            </a:solidFill>
            <a:ln w="9525">
              <a:noFill/>
              <a:round/>
              <a:headEnd/>
              <a:tailEnd/>
            </a:ln>
            <a:effectLst>
              <a:outerShdw blurRad="50800" dist="25400" dir="5400000" algn="t" rotWithShape="0">
                <a:prstClr val="black">
                  <a:alpha val="40000"/>
                </a:prstClr>
              </a:outerShdw>
            </a:effectLst>
          </p:spPr>
          <p:txBody>
            <a:bodyPr vert="horz" wrap="square" lIns="121920" tIns="60960" rIns="121920" bIns="60960" numCol="1" anchor="t" anchorCtr="0" compatLnSpc="1">
              <a:prstTxWarp prst="textNoShape">
                <a:avLst/>
              </a:prstTxWarp>
              <a:noAutofit/>
            </a:bodyPr>
            <a:lstStyle/>
            <a:p>
              <a:endParaRPr lang="en-US" sz="1867" dirty="0"/>
            </a:p>
          </p:txBody>
        </p:sp>
        <p:sp>
          <p:nvSpPr>
            <p:cNvPr id="34" name="Oval 33"/>
            <p:cNvSpPr/>
            <p:nvPr/>
          </p:nvSpPr>
          <p:spPr bwMode="auto">
            <a:xfrm>
              <a:off x="1931600" y="2148864"/>
              <a:ext cx="526019" cy="526020"/>
            </a:xfrm>
            <a:prstGeom prst="ellipse">
              <a:avLst/>
            </a:prstGeom>
            <a:solidFill>
              <a:schemeClr val="bg1"/>
            </a:solidFill>
            <a:ln w="12700" cap="flat" cmpd="sng" algn="ctr">
              <a:noFill/>
              <a:prstDash val="solid"/>
              <a:round/>
              <a:headEnd type="none" w="med" len="med"/>
              <a:tailEnd type="none" w="med" len="med"/>
            </a:ln>
            <a:effectLst>
              <a:innerShdw blurRad="114300">
                <a:prstClr val="black">
                  <a:alpha val="60000"/>
                </a:prstClr>
              </a:innerShdw>
            </a:effectLst>
          </p:spPr>
          <p:txBody>
            <a:bodyPr vert="horz" wrap="none" lIns="121920" tIns="60960" rIns="121920" bIns="60960" numCol="1" rtlCol="0" anchor="ctr" anchorCtr="0" compatLnSpc="1">
              <a:prstTxWarp prst="textNoShape">
                <a:avLst/>
              </a:prstTxWarp>
              <a:noAutofit/>
            </a:bodyPr>
            <a:lstStyle/>
            <a:p>
              <a:pPr algn="ctr" defTabSz="1219170" fontAlgn="base">
                <a:spcBef>
                  <a:spcPct val="0"/>
                </a:spcBef>
                <a:spcAft>
                  <a:spcPct val="0"/>
                </a:spcAft>
                <a:buClrTx/>
              </a:pPr>
              <a:r>
                <a:rPr lang="en-US" sz="5333" dirty="0">
                  <a:solidFill>
                    <a:srgbClr val="36A3C9"/>
                  </a:solidFill>
                  <a:latin typeface="+mj-lt"/>
                </a:rPr>
                <a:t>2</a:t>
              </a:r>
            </a:p>
          </p:txBody>
        </p:sp>
        <p:sp>
          <p:nvSpPr>
            <p:cNvPr id="35" name="Freeform 34"/>
            <p:cNvSpPr>
              <a:spLocks/>
            </p:cNvSpPr>
            <p:nvPr/>
          </p:nvSpPr>
          <p:spPr bwMode="auto">
            <a:xfrm>
              <a:off x="371472" y="3174766"/>
              <a:ext cx="2143548" cy="701991"/>
            </a:xfrm>
            <a:custGeom>
              <a:avLst/>
              <a:gdLst>
                <a:gd name="T0" fmla="*/ 656 w 760"/>
                <a:gd name="T1" fmla="*/ 186 h 212"/>
                <a:gd name="T2" fmla="*/ 44 w 760"/>
                <a:gd name="T3" fmla="*/ 186 h 212"/>
                <a:gd name="T4" fmla="*/ 43 w 760"/>
                <a:gd name="T5" fmla="*/ 186 h 212"/>
                <a:gd name="T6" fmla="*/ 32 w 760"/>
                <a:gd name="T7" fmla="*/ 187 h 212"/>
                <a:gd name="T8" fmla="*/ 16 w 760"/>
                <a:gd name="T9" fmla="*/ 192 h 212"/>
                <a:gd name="T10" fmla="*/ 0 w 760"/>
                <a:gd name="T11" fmla="*/ 212 h 212"/>
                <a:gd name="T12" fmla="*/ 0 w 760"/>
                <a:gd name="T13" fmla="*/ 209 h 212"/>
                <a:gd name="T14" fmla="*/ 0 w 760"/>
                <a:gd name="T15" fmla="*/ 189 h 212"/>
                <a:gd name="T16" fmla="*/ 0 w 760"/>
                <a:gd name="T17" fmla="*/ 52 h 212"/>
                <a:gd name="T18" fmla="*/ 0 w 760"/>
                <a:gd name="T19" fmla="*/ 28 h 212"/>
                <a:gd name="T20" fmla="*/ 14 w 760"/>
                <a:gd name="T21" fmla="*/ 8 h 212"/>
                <a:gd name="T22" fmla="*/ 30 w 760"/>
                <a:gd name="T23" fmla="*/ 2 h 212"/>
                <a:gd name="T24" fmla="*/ 42 w 760"/>
                <a:gd name="T25" fmla="*/ 0 h 212"/>
                <a:gd name="T26" fmla="*/ 43 w 760"/>
                <a:gd name="T27" fmla="*/ 0 h 212"/>
                <a:gd name="T28" fmla="*/ 44 w 760"/>
                <a:gd name="T29" fmla="*/ 0 h 212"/>
                <a:gd name="T30" fmla="*/ 656 w 760"/>
                <a:gd name="T31" fmla="*/ 0 h 212"/>
                <a:gd name="T32" fmla="*/ 760 w 760"/>
                <a:gd name="T33" fmla="*/ 92 h 212"/>
                <a:gd name="T34" fmla="*/ 656 w 760"/>
                <a:gd name="T35" fmla="*/ 18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0" h="212">
                  <a:moveTo>
                    <a:pt x="656" y="186"/>
                  </a:moveTo>
                  <a:cubicBezTo>
                    <a:pt x="610" y="186"/>
                    <a:pt x="153" y="186"/>
                    <a:pt x="44" y="186"/>
                  </a:cubicBezTo>
                  <a:cubicBezTo>
                    <a:pt x="43" y="186"/>
                    <a:pt x="43" y="186"/>
                    <a:pt x="43" y="186"/>
                  </a:cubicBezTo>
                  <a:cubicBezTo>
                    <a:pt x="39" y="186"/>
                    <a:pt x="35" y="187"/>
                    <a:pt x="32" y="187"/>
                  </a:cubicBezTo>
                  <a:cubicBezTo>
                    <a:pt x="27" y="188"/>
                    <a:pt x="21" y="190"/>
                    <a:pt x="16" y="192"/>
                  </a:cubicBezTo>
                  <a:cubicBezTo>
                    <a:pt x="8" y="196"/>
                    <a:pt x="2" y="202"/>
                    <a:pt x="0" y="212"/>
                  </a:cubicBezTo>
                  <a:cubicBezTo>
                    <a:pt x="0" y="210"/>
                    <a:pt x="0" y="209"/>
                    <a:pt x="0" y="209"/>
                  </a:cubicBezTo>
                  <a:cubicBezTo>
                    <a:pt x="0" y="202"/>
                    <a:pt x="0" y="196"/>
                    <a:pt x="0" y="189"/>
                  </a:cubicBezTo>
                  <a:cubicBezTo>
                    <a:pt x="0" y="143"/>
                    <a:pt x="0" y="98"/>
                    <a:pt x="0" y="52"/>
                  </a:cubicBezTo>
                  <a:cubicBezTo>
                    <a:pt x="0" y="44"/>
                    <a:pt x="0" y="36"/>
                    <a:pt x="0" y="28"/>
                  </a:cubicBezTo>
                  <a:cubicBezTo>
                    <a:pt x="1" y="18"/>
                    <a:pt x="6" y="12"/>
                    <a:pt x="14" y="8"/>
                  </a:cubicBezTo>
                  <a:cubicBezTo>
                    <a:pt x="19" y="5"/>
                    <a:pt x="25" y="3"/>
                    <a:pt x="30" y="2"/>
                  </a:cubicBezTo>
                  <a:cubicBezTo>
                    <a:pt x="35" y="1"/>
                    <a:pt x="40" y="0"/>
                    <a:pt x="42" y="0"/>
                  </a:cubicBezTo>
                  <a:cubicBezTo>
                    <a:pt x="43" y="0"/>
                    <a:pt x="43" y="0"/>
                    <a:pt x="43" y="0"/>
                  </a:cubicBezTo>
                  <a:cubicBezTo>
                    <a:pt x="44" y="0"/>
                    <a:pt x="44" y="0"/>
                    <a:pt x="44" y="0"/>
                  </a:cubicBezTo>
                  <a:cubicBezTo>
                    <a:pt x="164" y="0"/>
                    <a:pt x="620" y="0"/>
                    <a:pt x="656" y="0"/>
                  </a:cubicBezTo>
                  <a:cubicBezTo>
                    <a:pt x="723" y="0"/>
                    <a:pt x="760" y="50"/>
                    <a:pt x="760" y="92"/>
                  </a:cubicBezTo>
                  <a:cubicBezTo>
                    <a:pt x="760" y="134"/>
                    <a:pt x="731" y="186"/>
                    <a:pt x="656" y="186"/>
                  </a:cubicBezTo>
                  <a:close/>
                </a:path>
              </a:pathLst>
            </a:custGeom>
            <a:solidFill>
              <a:srgbClr val="00588A"/>
            </a:solidFill>
            <a:ln w="9525">
              <a:noFill/>
              <a:round/>
              <a:headEnd/>
              <a:tailEnd/>
            </a:ln>
            <a:effectLst>
              <a:outerShdw blurRad="50800" dist="25400" dir="5400000" algn="t" rotWithShape="0">
                <a:prstClr val="black">
                  <a:alpha val="40000"/>
                </a:prstClr>
              </a:outerShdw>
            </a:effectLst>
          </p:spPr>
          <p:txBody>
            <a:bodyPr vert="horz" wrap="square" lIns="121920" tIns="60960" rIns="121920" bIns="60960" numCol="1" anchor="t" anchorCtr="0" compatLnSpc="1">
              <a:prstTxWarp prst="textNoShape">
                <a:avLst/>
              </a:prstTxWarp>
              <a:noAutofit/>
            </a:bodyPr>
            <a:lstStyle/>
            <a:p>
              <a:endParaRPr lang="en-US" sz="1867" dirty="0"/>
            </a:p>
          </p:txBody>
        </p:sp>
        <p:sp>
          <p:nvSpPr>
            <p:cNvPr id="36" name="Oval 35"/>
            <p:cNvSpPr/>
            <p:nvPr/>
          </p:nvSpPr>
          <p:spPr bwMode="auto">
            <a:xfrm>
              <a:off x="1931600" y="3220909"/>
              <a:ext cx="526019" cy="526020"/>
            </a:xfrm>
            <a:prstGeom prst="ellipse">
              <a:avLst/>
            </a:prstGeom>
            <a:solidFill>
              <a:schemeClr val="bg1"/>
            </a:solidFill>
            <a:ln w="12700" cap="flat" cmpd="sng" algn="ctr">
              <a:noFill/>
              <a:prstDash val="solid"/>
              <a:round/>
              <a:headEnd type="none" w="med" len="med"/>
              <a:tailEnd type="none" w="med" len="med"/>
            </a:ln>
            <a:effectLst>
              <a:innerShdw blurRad="114300">
                <a:prstClr val="black">
                  <a:alpha val="60000"/>
                </a:prstClr>
              </a:innerShdw>
            </a:effectLst>
          </p:spPr>
          <p:txBody>
            <a:bodyPr vert="horz" wrap="none" lIns="121920" tIns="60960" rIns="121920" bIns="60960" numCol="1" rtlCol="0" anchor="ctr" anchorCtr="0" compatLnSpc="1">
              <a:prstTxWarp prst="textNoShape">
                <a:avLst/>
              </a:prstTxWarp>
              <a:noAutofit/>
            </a:bodyPr>
            <a:lstStyle/>
            <a:p>
              <a:pPr algn="ctr" defTabSz="1219170" fontAlgn="base">
                <a:spcBef>
                  <a:spcPct val="0"/>
                </a:spcBef>
                <a:spcAft>
                  <a:spcPct val="0"/>
                </a:spcAft>
                <a:buClrTx/>
              </a:pPr>
              <a:r>
                <a:rPr lang="en-US" sz="5333" dirty="0">
                  <a:solidFill>
                    <a:srgbClr val="0085B4"/>
                  </a:solidFill>
                  <a:latin typeface="+mj-lt"/>
                </a:rPr>
                <a:t>3</a:t>
              </a:r>
            </a:p>
          </p:txBody>
        </p:sp>
        <p:sp>
          <p:nvSpPr>
            <p:cNvPr id="37" name="TextBox 36"/>
            <p:cNvSpPr txBox="1"/>
            <p:nvPr/>
          </p:nvSpPr>
          <p:spPr>
            <a:xfrm>
              <a:off x="2569705" y="1192084"/>
              <a:ext cx="5952502" cy="520091"/>
            </a:xfrm>
            <a:prstGeom prst="rect">
              <a:avLst/>
            </a:prstGeom>
            <a:noFill/>
          </p:spPr>
          <p:txBody>
            <a:bodyPr wrap="square" rtlCol="0">
              <a:spAutoFit/>
            </a:bodyPr>
            <a:lstStyle/>
            <a:p>
              <a:pPr>
                <a:spcBef>
                  <a:spcPts val="1000"/>
                </a:spcBef>
                <a:buClr>
                  <a:schemeClr val="bg1"/>
                </a:buClr>
              </a:pPr>
              <a:r>
                <a:rPr lang="en-US" sz="1800" dirty="0">
                  <a:solidFill>
                    <a:schemeClr val="tx1"/>
                  </a:solidFill>
                  <a:latin typeface="Futura Lt BT" panose="020B0402020204020303" pitchFamily="34" charset="0"/>
                  <a:cs typeface="Calibri" panose="020F0502020204030204" pitchFamily="34" charset="0"/>
                </a:rPr>
                <a:t>The project team uses personal information submitted by applicants and their past credit history. </a:t>
              </a:r>
            </a:p>
          </p:txBody>
        </p:sp>
        <p:sp>
          <p:nvSpPr>
            <p:cNvPr id="38" name="TextBox 37"/>
            <p:cNvSpPr txBox="1"/>
            <p:nvPr/>
          </p:nvSpPr>
          <p:spPr>
            <a:xfrm>
              <a:off x="2569705" y="2106508"/>
              <a:ext cx="5952502" cy="520091"/>
            </a:xfrm>
            <a:prstGeom prst="rect">
              <a:avLst/>
            </a:prstGeom>
            <a:noFill/>
          </p:spPr>
          <p:txBody>
            <a:bodyPr wrap="square" rtlCol="0">
              <a:spAutoFit/>
            </a:bodyPr>
            <a:lstStyle/>
            <a:p>
              <a:pPr>
                <a:spcBef>
                  <a:spcPts val="1000"/>
                </a:spcBef>
                <a:buClr>
                  <a:schemeClr val="bg1"/>
                </a:buClr>
              </a:pPr>
              <a:r>
                <a:rPr lang="en-US" sz="1800" dirty="0">
                  <a:solidFill>
                    <a:schemeClr val="tx1"/>
                  </a:solidFill>
                  <a:latin typeface="Futura Lt BT" panose="020B0402020204020303" pitchFamily="34" charset="0"/>
                  <a:cs typeface="Calibri" panose="020F0502020204030204" pitchFamily="34" charset="0"/>
                </a:rPr>
                <a:t>The team recommends the best model after exhaustive EDA, data pre-processing and showcasing a comparison of various models they have built.</a:t>
              </a:r>
            </a:p>
          </p:txBody>
        </p:sp>
        <p:sp>
          <p:nvSpPr>
            <p:cNvPr id="39" name="TextBox 38"/>
            <p:cNvSpPr txBox="1"/>
            <p:nvPr/>
          </p:nvSpPr>
          <p:spPr>
            <a:xfrm>
              <a:off x="2569705" y="3041023"/>
              <a:ext cx="5952502" cy="965884"/>
            </a:xfrm>
            <a:prstGeom prst="rect">
              <a:avLst/>
            </a:prstGeom>
            <a:noFill/>
          </p:spPr>
          <p:txBody>
            <a:bodyPr wrap="square" rtlCol="0">
              <a:spAutoFit/>
            </a:bodyPr>
            <a:lstStyle/>
            <a:p>
              <a:pPr>
                <a:spcBef>
                  <a:spcPts val="1000"/>
                </a:spcBef>
                <a:buClr>
                  <a:schemeClr val="bg1"/>
                </a:buClr>
              </a:pPr>
              <a:r>
                <a:rPr lang="en-US" sz="1800" dirty="0">
                  <a:solidFill>
                    <a:schemeClr val="tx1"/>
                  </a:solidFill>
                  <a:latin typeface="Futura Lt BT" panose="020B0402020204020303" pitchFamily="34" charset="0"/>
                  <a:cs typeface="Calibri" panose="020F0502020204030204" pitchFamily="34" charset="0"/>
                </a:rPr>
                <a:t>The intent of this project is to develop a credit card eligibility model with high prediction accuracy. Hence the project’s success will be evaluated on High Accuracy and a High Capture Rate of the final model. By this, the Financial Institutions can decide whether to issue a credit card to the applicant or not. </a:t>
              </a:r>
            </a:p>
          </p:txBody>
        </p:sp>
      </p:grpSp>
      <p:sp>
        <p:nvSpPr>
          <p:cNvPr id="45" name="Title 2">
            <a:extLst>
              <a:ext uri="{FF2B5EF4-FFF2-40B4-BE49-F238E27FC236}">
                <a16:creationId xmlns:a16="http://schemas.microsoft.com/office/drawing/2014/main" id="{4B3DCF99-4807-2F21-1158-C2E750E92F00}"/>
              </a:ext>
            </a:extLst>
          </p:cNvPr>
          <p:cNvSpPr txBox="1">
            <a:spLocks/>
          </p:cNvSpPr>
          <p:nvPr/>
        </p:nvSpPr>
        <p:spPr>
          <a:xfrm>
            <a:off x="675124" y="466056"/>
            <a:ext cx="10673771" cy="613209"/>
          </a:xfrm>
          <a:prstGeom prst="rect">
            <a:avLst/>
          </a:prstGeom>
          <a:noFill/>
          <a:ln>
            <a:noFill/>
          </a:ln>
        </p:spPr>
        <p:txBody>
          <a:bodyPr spcFirstLastPara="1" wrap="square" lIns="91425" tIns="45700" rIns="91425" bIns="45700" anchor="ctr" anchorCtr="0">
            <a:normAutofit lnSpcReduction="100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Objectives </a:t>
            </a:r>
          </a:p>
        </p:txBody>
      </p:sp>
    </p:spTree>
    <p:extLst>
      <p:ext uri="{BB962C8B-B14F-4D97-AF65-F5344CB8AC3E}">
        <p14:creationId xmlns:p14="http://schemas.microsoft.com/office/powerpoint/2010/main" val="1934120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grpSp>
        <p:nvGrpSpPr>
          <p:cNvPr id="7" name="Group 6"/>
          <p:cNvGrpSpPr/>
          <p:nvPr/>
        </p:nvGrpSpPr>
        <p:grpSpPr>
          <a:xfrm>
            <a:off x="85726" y="771525"/>
            <a:ext cx="12106274" cy="5629274"/>
            <a:chOff x="1" y="547627"/>
            <a:chExt cx="9192460" cy="4011719"/>
          </a:xfrm>
        </p:grpSpPr>
        <p:sp>
          <p:nvSpPr>
            <p:cNvPr id="8" name="TextBox 7"/>
            <p:cNvSpPr txBox="1"/>
            <p:nvPr/>
          </p:nvSpPr>
          <p:spPr>
            <a:xfrm>
              <a:off x="7613985" y="2596908"/>
              <a:ext cx="1578476" cy="994378"/>
            </a:xfrm>
            <a:prstGeom prst="rect">
              <a:avLst/>
            </a:prstGeom>
            <a:noFill/>
          </p:spPr>
          <p:txBody>
            <a:bodyPr wrap="square" rtlCol="0">
              <a:spAutoFit/>
            </a:bodyPr>
            <a:lstStyle/>
            <a:p>
              <a:pPr lvl="0" algn="ctr"/>
              <a:r>
                <a:rPr lang="en-US" sz="1800" dirty="0">
                  <a:solidFill>
                    <a:srgbClr val="D6492A"/>
                  </a:solidFill>
                  <a:latin typeface="Berlin Sans FB" panose="020E0602020502020306" pitchFamily="34" charset="0"/>
                </a:rPr>
                <a:t>EDA &amp; Data Pre-processing </a:t>
              </a:r>
              <a:r>
                <a:rPr lang="en-US" sz="1867" dirty="0">
                  <a:solidFill>
                    <a:srgbClr val="D6492A"/>
                  </a:solidFill>
                </a:rPr>
                <a:t> </a:t>
              </a:r>
              <a:br>
                <a:rPr lang="en-US" sz="1867" dirty="0">
                  <a:solidFill>
                    <a:srgbClr val="000000">
                      <a:lumMod val="65000"/>
                      <a:lumOff val="35000"/>
                    </a:srgbClr>
                  </a:solidFill>
                </a:rPr>
              </a:br>
              <a:r>
                <a:rPr lang="en-US" sz="1600" dirty="0">
                  <a:solidFill>
                    <a:srgbClr val="000000">
                      <a:lumMod val="65000"/>
                      <a:lumOff val="35000"/>
                    </a:srgbClr>
                  </a:solidFill>
                  <a:latin typeface="Futura Lt BT" panose="020B0402020204020303"/>
                </a:rPr>
                <a:t>Analyzing, cleaning &amp; organizing the data in structured </a:t>
              </a:r>
            </a:p>
          </p:txBody>
        </p:sp>
        <p:grpSp>
          <p:nvGrpSpPr>
            <p:cNvPr id="9" name="Group 8"/>
            <p:cNvGrpSpPr/>
            <p:nvPr/>
          </p:nvGrpSpPr>
          <p:grpSpPr>
            <a:xfrm>
              <a:off x="1" y="675953"/>
              <a:ext cx="9154885" cy="3883393"/>
              <a:chOff x="1" y="220588"/>
              <a:chExt cx="9154885" cy="4264327"/>
            </a:xfrm>
          </p:grpSpPr>
          <p:grpSp>
            <p:nvGrpSpPr>
              <p:cNvPr id="17" name="Group 16"/>
              <p:cNvGrpSpPr/>
              <p:nvPr/>
            </p:nvGrpSpPr>
            <p:grpSpPr>
              <a:xfrm>
                <a:off x="1" y="1289528"/>
                <a:ext cx="9154885" cy="3195387"/>
                <a:chOff x="1" y="991440"/>
                <a:chExt cx="9154885" cy="3493475"/>
              </a:xfrm>
            </p:grpSpPr>
            <p:sp>
              <p:nvSpPr>
                <p:cNvPr id="34" name="Freeform 33"/>
                <p:cNvSpPr/>
                <p:nvPr/>
              </p:nvSpPr>
              <p:spPr>
                <a:xfrm>
                  <a:off x="1" y="991440"/>
                  <a:ext cx="9143161" cy="3493475"/>
                </a:xfrm>
                <a:custGeom>
                  <a:avLst/>
                  <a:gdLst>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663542 w 9160850"/>
                    <a:gd name="connsiteY10" fmla="*/ 1967895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7815942 w 9160850"/>
                    <a:gd name="connsiteY21" fmla="*/ 977295 h 3383038"/>
                    <a:gd name="connsiteX22" fmla="*/ 7979228 w 9160850"/>
                    <a:gd name="connsiteY22" fmla="*/ 890209 h 3383038"/>
                    <a:gd name="connsiteX23" fmla="*/ 8044542 w 9160850"/>
                    <a:gd name="connsiteY23" fmla="*/ 803123 h 3383038"/>
                    <a:gd name="connsiteX24" fmla="*/ 7761514 w 9160850"/>
                    <a:gd name="connsiteY24" fmla="*/ 661609 h 3383038"/>
                    <a:gd name="connsiteX25" fmla="*/ 7173685 w 9160850"/>
                    <a:gd name="connsiteY25" fmla="*/ 530981 h 3383038"/>
                    <a:gd name="connsiteX26" fmla="*/ 6466114 w 9160850"/>
                    <a:gd name="connsiteY26" fmla="*/ 400352 h 3383038"/>
                    <a:gd name="connsiteX27" fmla="*/ 5987142 w 9160850"/>
                    <a:gd name="connsiteY27" fmla="*/ 302381 h 3383038"/>
                    <a:gd name="connsiteX28" fmla="*/ 5976257 w 9160850"/>
                    <a:gd name="connsiteY28" fmla="*/ 258838 h 3383038"/>
                    <a:gd name="connsiteX29" fmla="*/ 6607628 w 9160850"/>
                    <a:gd name="connsiteY29" fmla="*/ 269723 h 3383038"/>
                    <a:gd name="connsiteX30" fmla="*/ 8447314 w 9160850"/>
                    <a:gd name="connsiteY30" fmla="*/ 302381 h 3383038"/>
                    <a:gd name="connsiteX31" fmla="*/ 9035142 w 9160850"/>
                    <a:gd name="connsiteY31" fmla="*/ 280609 h 3383038"/>
                    <a:gd name="connsiteX32" fmla="*/ 9154885 w 9160850"/>
                    <a:gd name="connsiteY32" fmla="*/ 280609 h 3383038"/>
                    <a:gd name="connsiteX33" fmla="*/ 9144000 w 9160850"/>
                    <a:gd name="connsiteY33" fmla="*/ 19352 h 3383038"/>
                    <a:gd name="connsiteX34" fmla="*/ 9154885 w 9160850"/>
                    <a:gd name="connsiteY34" fmla="*/ 19352 h 3383038"/>
                    <a:gd name="connsiteX35" fmla="*/ 8414657 w 9160850"/>
                    <a:gd name="connsiteY35" fmla="*/ 8466 h 3383038"/>
                    <a:gd name="connsiteX36" fmla="*/ 7783285 w 9160850"/>
                    <a:gd name="connsiteY36" fmla="*/ 8466 h 3383038"/>
                    <a:gd name="connsiteX37" fmla="*/ 6814457 w 9160850"/>
                    <a:gd name="connsiteY37" fmla="*/ 19352 h 3383038"/>
                    <a:gd name="connsiteX38" fmla="*/ 5867400 w 9160850"/>
                    <a:gd name="connsiteY38" fmla="*/ 30238 h 3383038"/>
                    <a:gd name="connsiteX39" fmla="*/ 5301342 w 9160850"/>
                    <a:gd name="connsiteY39" fmla="*/ 106438 h 3383038"/>
                    <a:gd name="connsiteX40" fmla="*/ 4996542 w 9160850"/>
                    <a:gd name="connsiteY40" fmla="*/ 193523 h 3383038"/>
                    <a:gd name="connsiteX41" fmla="*/ 5029200 w 9160850"/>
                    <a:gd name="connsiteY41" fmla="*/ 302381 h 3383038"/>
                    <a:gd name="connsiteX42" fmla="*/ 5431971 w 9160850"/>
                    <a:gd name="connsiteY42" fmla="*/ 433009 h 3383038"/>
                    <a:gd name="connsiteX43" fmla="*/ 5932714 w 9160850"/>
                    <a:gd name="connsiteY43" fmla="*/ 530981 h 3383038"/>
                    <a:gd name="connsiteX44" fmla="*/ 6444342 w 9160850"/>
                    <a:gd name="connsiteY44" fmla="*/ 618066 h 3383038"/>
                    <a:gd name="connsiteX45" fmla="*/ 6683828 w 9160850"/>
                    <a:gd name="connsiteY45" fmla="*/ 683381 h 3383038"/>
                    <a:gd name="connsiteX46" fmla="*/ 6574971 w 9160850"/>
                    <a:gd name="connsiteY46" fmla="*/ 770466 h 3383038"/>
                    <a:gd name="connsiteX47" fmla="*/ 5845628 w 9160850"/>
                    <a:gd name="connsiteY47" fmla="*/ 846666 h 3383038"/>
                    <a:gd name="connsiteX48" fmla="*/ 4942114 w 9160850"/>
                    <a:gd name="connsiteY48" fmla="*/ 933752 h 3383038"/>
                    <a:gd name="connsiteX49" fmla="*/ 4245428 w 9160850"/>
                    <a:gd name="connsiteY49" fmla="*/ 955523 h 3383038"/>
                    <a:gd name="connsiteX50" fmla="*/ 3374571 w 9160850"/>
                    <a:gd name="connsiteY50" fmla="*/ 1064381 h 3383038"/>
                    <a:gd name="connsiteX51" fmla="*/ 3265714 w 9160850"/>
                    <a:gd name="connsiteY51" fmla="*/ 1129695 h 3383038"/>
                    <a:gd name="connsiteX52" fmla="*/ 3265714 w 9160850"/>
                    <a:gd name="connsiteY52" fmla="*/ 1271209 h 3383038"/>
                    <a:gd name="connsiteX53" fmla="*/ 3614057 w 9160850"/>
                    <a:gd name="connsiteY53" fmla="*/ 1380066 h 3383038"/>
                    <a:gd name="connsiteX54" fmla="*/ 4604657 w 9160850"/>
                    <a:gd name="connsiteY54" fmla="*/ 1597781 h 3383038"/>
                    <a:gd name="connsiteX55" fmla="*/ 5529942 w 9160850"/>
                    <a:gd name="connsiteY55" fmla="*/ 1826381 h 3383038"/>
                    <a:gd name="connsiteX56" fmla="*/ 5867400 w 9160850"/>
                    <a:gd name="connsiteY56" fmla="*/ 1957009 h 3383038"/>
                    <a:gd name="connsiteX57" fmla="*/ 5998028 w 9160850"/>
                    <a:gd name="connsiteY57" fmla="*/ 2076752 h 3383038"/>
                    <a:gd name="connsiteX58" fmla="*/ 5780314 w 9160850"/>
                    <a:gd name="connsiteY58" fmla="*/ 2163838 h 3383038"/>
                    <a:gd name="connsiteX59" fmla="*/ 5236028 w 9160850"/>
                    <a:gd name="connsiteY59" fmla="*/ 2272695 h 3383038"/>
                    <a:gd name="connsiteX60" fmla="*/ 4147457 w 9160850"/>
                    <a:gd name="connsiteY60" fmla="*/ 2370666 h 3383038"/>
                    <a:gd name="connsiteX61" fmla="*/ 3113314 w 9160850"/>
                    <a:gd name="connsiteY61" fmla="*/ 2403323 h 3383038"/>
                    <a:gd name="connsiteX62" fmla="*/ 1915885 w 9160850"/>
                    <a:gd name="connsiteY62" fmla="*/ 2435981 h 3383038"/>
                    <a:gd name="connsiteX63" fmla="*/ 631371 w 9160850"/>
                    <a:gd name="connsiteY63" fmla="*/ 2457752 h 3383038"/>
                    <a:gd name="connsiteX64" fmla="*/ 250371 w 9160850"/>
                    <a:gd name="connsiteY64" fmla="*/ 2446866 h 3383038"/>
                    <a:gd name="connsiteX65" fmla="*/ 32657 w 9160850"/>
                    <a:gd name="connsiteY65" fmla="*/ 2457752 h 3383038"/>
                    <a:gd name="connsiteX66" fmla="*/ 32657 w 9160850"/>
                    <a:gd name="connsiteY66" fmla="*/ 2708123 h 3383038"/>
                    <a:gd name="connsiteX67" fmla="*/ 21771 w 9160850"/>
                    <a:gd name="connsiteY67" fmla="*/ 3121781 h 3383038"/>
                    <a:gd name="connsiteX68" fmla="*/ 0 w 9160850"/>
                    <a:gd name="connsiteY68"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7815942 w 9160850"/>
                    <a:gd name="connsiteY21" fmla="*/ 977295 h 3383038"/>
                    <a:gd name="connsiteX22" fmla="*/ 7979228 w 9160850"/>
                    <a:gd name="connsiteY22" fmla="*/ 890209 h 3383038"/>
                    <a:gd name="connsiteX23" fmla="*/ 8044542 w 9160850"/>
                    <a:gd name="connsiteY23" fmla="*/ 803123 h 3383038"/>
                    <a:gd name="connsiteX24" fmla="*/ 7761514 w 9160850"/>
                    <a:gd name="connsiteY24" fmla="*/ 661609 h 3383038"/>
                    <a:gd name="connsiteX25" fmla="*/ 7173685 w 9160850"/>
                    <a:gd name="connsiteY25" fmla="*/ 530981 h 3383038"/>
                    <a:gd name="connsiteX26" fmla="*/ 6466114 w 9160850"/>
                    <a:gd name="connsiteY26" fmla="*/ 400352 h 3383038"/>
                    <a:gd name="connsiteX27" fmla="*/ 5987142 w 9160850"/>
                    <a:gd name="connsiteY27" fmla="*/ 302381 h 3383038"/>
                    <a:gd name="connsiteX28" fmla="*/ 5976257 w 9160850"/>
                    <a:gd name="connsiteY28" fmla="*/ 258838 h 3383038"/>
                    <a:gd name="connsiteX29" fmla="*/ 6607628 w 9160850"/>
                    <a:gd name="connsiteY29" fmla="*/ 269723 h 3383038"/>
                    <a:gd name="connsiteX30" fmla="*/ 8447314 w 9160850"/>
                    <a:gd name="connsiteY30" fmla="*/ 302381 h 3383038"/>
                    <a:gd name="connsiteX31" fmla="*/ 9035142 w 9160850"/>
                    <a:gd name="connsiteY31" fmla="*/ 280609 h 3383038"/>
                    <a:gd name="connsiteX32" fmla="*/ 9154885 w 9160850"/>
                    <a:gd name="connsiteY32" fmla="*/ 280609 h 3383038"/>
                    <a:gd name="connsiteX33" fmla="*/ 9144000 w 9160850"/>
                    <a:gd name="connsiteY33" fmla="*/ 19352 h 3383038"/>
                    <a:gd name="connsiteX34" fmla="*/ 9154885 w 9160850"/>
                    <a:gd name="connsiteY34" fmla="*/ 19352 h 3383038"/>
                    <a:gd name="connsiteX35" fmla="*/ 8414657 w 9160850"/>
                    <a:gd name="connsiteY35" fmla="*/ 8466 h 3383038"/>
                    <a:gd name="connsiteX36" fmla="*/ 7783285 w 9160850"/>
                    <a:gd name="connsiteY36" fmla="*/ 8466 h 3383038"/>
                    <a:gd name="connsiteX37" fmla="*/ 6814457 w 9160850"/>
                    <a:gd name="connsiteY37" fmla="*/ 19352 h 3383038"/>
                    <a:gd name="connsiteX38" fmla="*/ 5867400 w 9160850"/>
                    <a:gd name="connsiteY38" fmla="*/ 30238 h 3383038"/>
                    <a:gd name="connsiteX39" fmla="*/ 5301342 w 9160850"/>
                    <a:gd name="connsiteY39" fmla="*/ 106438 h 3383038"/>
                    <a:gd name="connsiteX40" fmla="*/ 4996542 w 9160850"/>
                    <a:gd name="connsiteY40" fmla="*/ 193523 h 3383038"/>
                    <a:gd name="connsiteX41" fmla="*/ 5029200 w 9160850"/>
                    <a:gd name="connsiteY41" fmla="*/ 302381 h 3383038"/>
                    <a:gd name="connsiteX42" fmla="*/ 5431971 w 9160850"/>
                    <a:gd name="connsiteY42" fmla="*/ 433009 h 3383038"/>
                    <a:gd name="connsiteX43" fmla="*/ 5932714 w 9160850"/>
                    <a:gd name="connsiteY43" fmla="*/ 530981 h 3383038"/>
                    <a:gd name="connsiteX44" fmla="*/ 6444342 w 9160850"/>
                    <a:gd name="connsiteY44" fmla="*/ 618066 h 3383038"/>
                    <a:gd name="connsiteX45" fmla="*/ 6683828 w 9160850"/>
                    <a:gd name="connsiteY45" fmla="*/ 683381 h 3383038"/>
                    <a:gd name="connsiteX46" fmla="*/ 6574971 w 9160850"/>
                    <a:gd name="connsiteY46" fmla="*/ 770466 h 3383038"/>
                    <a:gd name="connsiteX47" fmla="*/ 5845628 w 9160850"/>
                    <a:gd name="connsiteY47" fmla="*/ 846666 h 3383038"/>
                    <a:gd name="connsiteX48" fmla="*/ 4942114 w 9160850"/>
                    <a:gd name="connsiteY48" fmla="*/ 933752 h 3383038"/>
                    <a:gd name="connsiteX49" fmla="*/ 4245428 w 9160850"/>
                    <a:gd name="connsiteY49" fmla="*/ 955523 h 3383038"/>
                    <a:gd name="connsiteX50" fmla="*/ 3374571 w 9160850"/>
                    <a:gd name="connsiteY50" fmla="*/ 1064381 h 3383038"/>
                    <a:gd name="connsiteX51" fmla="*/ 3265714 w 9160850"/>
                    <a:gd name="connsiteY51" fmla="*/ 1129695 h 3383038"/>
                    <a:gd name="connsiteX52" fmla="*/ 3265714 w 9160850"/>
                    <a:gd name="connsiteY52" fmla="*/ 1271209 h 3383038"/>
                    <a:gd name="connsiteX53" fmla="*/ 3614057 w 9160850"/>
                    <a:gd name="connsiteY53" fmla="*/ 1380066 h 3383038"/>
                    <a:gd name="connsiteX54" fmla="*/ 4604657 w 9160850"/>
                    <a:gd name="connsiteY54" fmla="*/ 1597781 h 3383038"/>
                    <a:gd name="connsiteX55" fmla="*/ 5529942 w 9160850"/>
                    <a:gd name="connsiteY55" fmla="*/ 1826381 h 3383038"/>
                    <a:gd name="connsiteX56" fmla="*/ 5867400 w 9160850"/>
                    <a:gd name="connsiteY56" fmla="*/ 1957009 h 3383038"/>
                    <a:gd name="connsiteX57" fmla="*/ 5998028 w 9160850"/>
                    <a:gd name="connsiteY57" fmla="*/ 2076752 h 3383038"/>
                    <a:gd name="connsiteX58" fmla="*/ 5780314 w 9160850"/>
                    <a:gd name="connsiteY58" fmla="*/ 2163838 h 3383038"/>
                    <a:gd name="connsiteX59" fmla="*/ 5236028 w 9160850"/>
                    <a:gd name="connsiteY59" fmla="*/ 2272695 h 3383038"/>
                    <a:gd name="connsiteX60" fmla="*/ 4147457 w 9160850"/>
                    <a:gd name="connsiteY60" fmla="*/ 2370666 h 3383038"/>
                    <a:gd name="connsiteX61" fmla="*/ 3113314 w 9160850"/>
                    <a:gd name="connsiteY61" fmla="*/ 2403323 h 3383038"/>
                    <a:gd name="connsiteX62" fmla="*/ 1915885 w 9160850"/>
                    <a:gd name="connsiteY62" fmla="*/ 2435981 h 3383038"/>
                    <a:gd name="connsiteX63" fmla="*/ 631371 w 9160850"/>
                    <a:gd name="connsiteY63" fmla="*/ 2457752 h 3383038"/>
                    <a:gd name="connsiteX64" fmla="*/ 250371 w 9160850"/>
                    <a:gd name="connsiteY64" fmla="*/ 2446866 h 3383038"/>
                    <a:gd name="connsiteX65" fmla="*/ 32657 w 9160850"/>
                    <a:gd name="connsiteY65" fmla="*/ 2457752 h 3383038"/>
                    <a:gd name="connsiteX66" fmla="*/ 32657 w 9160850"/>
                    <a:gd name="connsiteY66" fmla="*/ 2708123 h 3383038"/>
                    <a:gd name="connsiteX67" fmla="*/ 21771 w 9160850"/>
                    <a:gd name="connsiteY67" fmla="*/ 3121781 h 3383038"/>
                    <a:gd name="connsiteX68" fmla="*/ 0 w 9160850"/>
                    <a:gd name="connsiteY68"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7815942 w 9160850"/>
                    <a:gd name="connsiteY21" fmla="*/ 977295 h 3383038"/>
                    <a:gd name="connsiteX22" fmla="*/ 8011885 w 9160850"/>
                    <a:gd name="connsiteY22" fmla="*/ 944638 h 3383038"/>
                    <a:gd name="connsiteX23" fmla="*/ 8044542 w 9160850"/>
                    <a:gd name="connsiteY23" fmla="*/ 803123 h 3383038"/>
                    <a:gd name="connsiteX24" fmla="*/ 7761514 w 9160850"/>
                    <a:gd name="connsiteY24" fmla="*/ 661609 h 3383038"/>
                    <a:gd name="connsiteX25" fmla="*/ 7173685 w 9160850"/>
                    <a:gd name="connsiteY25" fmla="*/ 530981 h 3383038"/>
                    <a:gd name="connsiteX26" fmla="*/ 6466114 w 9160850"/>
                    <a:gd name="connsiteY26" fmla="*/ 400352 h 3383038"/>
                    <a:gd name="connsiteX27" fmla="*/ 5987142 w 9160850"/>
                    <a:gd name="connsiteY27" fmla="*/ 302381 h 3383038"/>
                    <a:gd name="connsiteX28" fmla="*/ 5976257 w 9160850"/>
                    <a:gd name="connsiteY28" fmla="*/ 258838 h 3383038"/>
                    <a:gd name="connsiteX29" fmla="*/ 6607628 w 9160850"/>
                    <a:gd name="connsiteY29" fmla="*/ 269723 h 3383038"/>
                    <a:gd name="connsiteX30" fmla="*/ 8447314 w 9160850"/>
                    <a:gd name="connsiteY30" fmla="*/ 302381 h 3383038"/>
                    <a:gd name="connsiteX31" fmla="*/ 9035142 w 9160850"/>
                    <a:gd name="connsiteY31" fmla="*/ 280609 h 3383038"/>
                    <a:gd name="connsiteX32" fmla="*/ 9154885 w 9160850"/>
                    <a:gd name="connsiteY32" fmla="*/ 280609 h 3383038"/>
                    <a:gd name="connsiteX33" fmla="*/ 9144000 w 9160850"/>
                    <a:gd name="connsiteY33" fmla="*/ 19352 h 3383038"/>
                    <a:gd name="connsiteX34" fmla="*/ 9154885 w 9160850"/>
                    <a:gd name="connsiteY34" fmla="*/ 19352 h 3383038"/>
                    <a:gd name="connsiteX35" fmla="*/ 8414657 w 9160850"/>
                    <a:gd name="connsiteY35" fmla="*/ 8466 h 3383038"/>
                    <a:gd name="connsiteX36" fmla="*/ 7783285 w 9160850"/>
                    <a:gd name="connsiteY36" fmla="*/ 8466 h 3383038"/>
                    <a:gd name="connsiteX37" fmla="*/ 6814457 w 9160850"/>
                    <a:gd name="connsiteY37" fmla="*/ 19352 h 3383038"/>
                    <a:gd name="connsiteX38" fmla="*/ 5867400 w 9160850"/>
                    <a:gd name="connsiteY38" fmla="*/ 30238 h 3383038"/>
                    <a:gd name="connsiteX39" fmla="*/ 5301342 w 9160850"/>
                    <a:gd name="connsiteY39" fmla="*/ 106438 h 3383038"/>
                    <a:gd name="connsiteX40" fmla="*/ 4996542 w 9160850"/>
                    <a:gd name="connsiteY40" fmla="*/ 193523 h 3383038"/>
                    <a:gd name="connsiteX41" fmla="*/ 5029200 w 9160850"/>
                    <a:gd name="connsiteY41" fmla="*/ 302381 h 3383038"/>
                    <a:gd name="connsiteX42" fmla="*/ 5431971 w 9160850"/>
                    <a:gd name="connsiteY42" fmla="*/ 433009 h 3383038"/>
                    <a:gd name="connsiteX43" fmla="*/ 5932714 w 9160850"/>
                    <a:gd name="connsiteY43" fmla="*/ 530981 h 3383038"/>
                    <a:gd name="connsiteX44" fmla="*/ 6444342 w 9160850"/>
                    <a:gd name="connsiteY44" fmla="*/ 618066 h 3383038"/>
                    <a:gd name="connsiteX45" fmla="*/ 6683828 w 9160850"/>
                    <a:gd name="connsiteY45" fmla="*/ 683381 h 3383038"/>
                    <a:gd name="connsiteX46" fmla="*/ 6574971 w 9160850"/>
                    <a:gd name="connsiteY46" fmla="*/ 770466 h 3383038"/>
                    <a:gd name="connsiteX47" fmla="*/ 5845628 w 9160850"/>
                    <a:gd name="connsiteY47" fmla="*/ 846666 h 3383038"/>
                    <a:gd name="connsiteX48" fmla="*/ 4942114 w 9160850"/>
                    <a:gd name="connsiteY48" fmla="*/ 933752 h 3383038"/>
                    <a:gd name="connsiteX49" fmla="*/ 4245428 w 9160850"/>
                    <a:gd name="connsiteY49" fmla="*/ 955523 h 3383038"/>
                    <a:gd name="connsiteX50" fmla="*/ 3374571 w 9160850"/>
                    <a:gd name="connsiteY50" fmla="*/ 1064381 h 3383038"/>
                    <a:gd name="connsiteX51" fmla="*/ 3265714 w 9160850"/>
                    <a:gd name="connsiteY51" fmla="*/ 1129695 h 3383038"/>
                    <a:gd name="connsiteX52" fmla="*/ 3265714 w 9160850"/>
                    <a:gd name="connsiteY52" fmla="*/ 1271209 h 3383038"/>
                    <a:gd name="connsiteX53" fmla="*/ 3614057 w 9160850"/>
                    <a:gd name="connsiteY53" fmla="*/ 1380066 h 3383038"/>
                    <a:gd name="connsiteX54" fmla="*/ 4604657 w 9160850"/>
                    <a:gd name="connsiteY54" fmla="*/ 1597781 h 3383038"/>
                    <a:gd name="connsiteX55" fmla="*/ 5529942 w 9160850"/>
                    <a:gd name="connsiteY55" fmla="*/ 1826381 h 3383038"/>
                    <a:gd name="connsiteX56" fmla="*/ 5867400 w 9160850"/>
                    <a:gd name="connsiteY56" fmla="*/ 1957009 h 3383038"/>
                    <a:gd name="connsiteX57" fmla="*/ 5998028 w 9160850"/>
                    <a:gd name="connsiteY57" fmla="*/ 2076752 h 3383038"/>
                    <a:gd name="connsiteX58" fmla="*/ 5780314 w 9160850"/>
                    <a:gd name="connsiteY58" fmla="*/ 2163838 h 3383038"/>
                    <a:gd name="connsiteX59" fmla="*/ 5236028 w 9160850"/>
                    <a:gd name="connsiteY59" fmla="*/ 2272695 h 3383038"/>
                    <a:gd name="connsiteX60" fmla="*/ 4147457 w 9160850"/>
                    <a:gd name="connsiteY60" fmla="*/ 2370666 h 3383038"/>
                    <a:gd name="connsiteX61" fmla="*/ 3113314 w 9160850"/>
                    <a:gd name="connsiteY61" fmla="*/ 2403323 h 3383038"/>
                    <a:gd name="connsiteX62" fmla="*/ 1915885 w 9160850"/>
                    <a:gd name="connsiteY62" fmla="*/ 2435981 h 3383038"/>
                    <a:gd name="connsiteX63" fmla="*/ 631371 w 9160850"/>
                    <a:gd name="connsiteY63" fmla="*/ 2457752 h 3383038"/>
                    <a:gd name="connsiteX64" fmla="*/ 250371 w 9160850"/>
                    <a:gd name="connsiteY64" fmla="*/ 2446866 h 3383038"/>
                    <a:gd name="connsiteX65" fmla="*/ 32657 w 9160850"/>
                    <a:gd name="connsiteY65" fmla="*/ 2457752 h 3383038"/>
                    <a:gd name="connsiteX66" fmla="*/ 32657 w 9160850"/>
                    <a:gd name="connsiteY66" fmla="*/ 2708123 h 3383038"/>
                    <a:gd name="connsiteX67" fmla="*/ 21771 w 9160850"/>
                    <a:gd name="connsiteY67" fmla="*/ 3121781 h 3383038"/>
                    <a:gd name="connsiteX68" fmla="*/ 0 w 9160850"/>
                    <a:gd name="connsiteY68"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7815942 w 9160850"/>
                    <a:gd name="connsiteY21" fmla="*/ 977295 h 3383038"/>
                    <a:gd name="connsiteX22" fmla="*/ 8011885 w 9160850"/>
                    <a:gd name="connsiteY22" fmla="*/ 944638 h 3383038"/>
                    <a:gd name="connsiteX23" fmla="*/ 8044542 w 9160850"/>
                    <a:gd name="connsiteY23" fmla="*/ 803123 h 3383038"/>
                    <a:gd name="connsiteX24" fmla="*/ 7761514 w 9160850"/>
                    <a:gd name="connsiteY24" fmla="*/ 661609 h 3383038"/>
                    <a:gd name="connsiteX25" fmla="*/ 7173685 w 9160850"/>
                    <a:gd name="connsiteY25" fmla="*/ 530981 h 3383038"/>
                    <a:gd name="connsiteX26" fmla="*/ 6466114 w 9160850"/>
                    <a:gd name="connsiteY26" fmla="*/ 400352 h 3383038"/>
                    <a:gd name="connsiteX27" fmla="*/ 5987142 w 9160850"/>
                    <a:gd name="connsiteY27" fmla="*/ 302381 h 3383038"/>
                    <a:gd name="connsiteX28" fmla="*/ 5976257 w 9160850"/>
                    <a:gd name="connsiteY28" fmla="*/ 258838 h 3383038"/>
                    <a:gd name="connsiteX29" fmla="*/ 6607628 w 9160850"/>
                    <a:gd name="connsiteY29" fmla="*/ 269723 h 3383038"/>
                    <a:gd name="connsiteX30" fmla="*/ 8447314 w 9160850"/>
                    <a:gd name="connsiteY30" fmla="*/ 302381 h 3383038"/>
                    <a:gd name="connsiteX31" fmla="*/ 9035142 w 9160850"/>
                    <a:gd name="connsiteY31" fmla="*/ 280609 h 3383038"/>
                    <a:gd name="connsiteX32" fmla="*/ 9154885 w 9160850"/>
                    <a:gd name="connsiteY32" fmla="*/ 280609 h 3383038"/>
                    <a:gd name="connsiteX33" fmla="*/ 9144000 w 9160850"/>
                    <a:gd name="connsiteY33" fmla="*/ 19352 h 3383038"/>
                    <a:gd name="connsiteX34" fmla="*/ 9154885 w 9160850"/>
                    <a:gd name="connsiteY34" fmla="*/ 19352 h 3383038"/>
                    <a:gd name="connsiteX35" fmla="*/ 8414657 w 9160850"/>
                    <a:gd name="connsiteY35" fmla="*/ 8466 h 3383038"/>
                    <a:gd name="connsiteX36" fmla="*/ 7783285 w 9160850"/>
                    <a:gd name="connsiteY36" fmla="*/ 8466 h 3383038"/>
                    <a:gd name="connsiteX37" fmla="*/ 6814457 w 9160850"/>
                    <a:gd name="connsiteY37" fmla="*/ 19352 h 3383038"/>
                    <a:gd name="connsiteX38" fmla="*/ 5867400 w 9160850"/>
                    <a:gd name="connsiteY38" fmla="*/ 30238 h 3383038"/>
                    <a:gd name="connsiteX39" fmla="*/ 5301342 w 9160850"/>
                    <a:gd name="connsiteY39" fmla="*/ 106438 h 3383038"/>
                    <a:gd name="connsiteX40" fmla="*/ 4996542 w 9160850"/>
                    <a:gd name="connsiteY40" fmla="*/ 160866 h 3383038"/>
                    <a:gd name="connsiteX41" fmla="*/ 5029200 w 9160850"/>
                    <a:gd name="connsiteY41" fmla="*/ 302381 h 3383038"/>
                    <a:gd name="connsiteX42" fmla="*/ 5431971 w 9160850"/>
                    <a:gd name="connsiteY42" fmla="*/ 433009 h 3383038"/>
                    <a:gd name="connsiteX43" fmla="*/ 5932714 w 9160850"/>
                    <a:gd name="connsiteY43" fmla="*/ 530981 h 3383038"/>
                    <a:gd name="connsiteX44" fmla="*/ 6444342 w 9160850"/>
                    <a:gd name="connsiteY44" fmla="*/ 618066 h 3383038"/>
                    <a:gd name="connsiteX45" fmla="*/ 6683828 w 9160850"/>
                    <a:gd name="connsiteY45" fmla="*/ 683381 h 3383038"/>
                    <a:gd name="connsiteX46" fmla="*/ 6574971 w 9160850"/>
                    <a:gd name="connsiteY46" fmla="*/ 770466 h 3383038"/>
                    <a:gd name="connsiteX47" fmla="*/ 5845628 w 9160850"/>
                    <a:gd name="connsiteY47" fmla="*/ 846666 h 3383038"/>
                    <a:gd name="connsiteX48" fmla="*/ 4942114 w 9160850"/>
                    <a:gd name="connsiteY48" fmla="*/ 933752 h 3383038"/>
                    <a:gd name="connsiteX49" fmla="*/ 4245428 w 9160850"/>
                    <a:gd name="connsiteY49" fmla="*/ 955523 h 3383038"/>
                    <a:gd name="connsiteX50" fmla="*/ 3374571 w 9160850"/>
                    <a:gd name="connsiteY50" fmla="*/ 1064381 h 3383038"/>
                    <a:gd name="connsiteX51" fmla="*/ 3265714 w 9160850"/>
                    <a:gd name="connsiteY51" fmla="*/ 1129695 h 3383038"/>
                    <a:gd name="connsiteX52" fmla="*/ 3265714 w 9160850"/>
                    <a:gd name="connsiteY52" fmla="*/ 1271209 h 3383038"/>
                    <a:gd name="connsiteX53" fmla="*/ 3614057 w 9160850"/>
                    <a:gd name="connsiteY53" fmla="*/ 1380066 h 3383038"/>
                    <a:gd name="connsiteX54" fmla="*/ 4604657 w 9160850"/>
                    <a:gd name="connsiteY54" fmla="*/ 1597781 h 3383038"/>
                    <a:gd name="connsiteX55" fmla="*/ 5529942 w 9160850"/>
                    <a:gd name="connsiteY55" fmla="*/ 1826381 h 3383038"/>
                    <a:gd name="connsiteX56" fmla="*/ 5867400 w 9160850"/>
                    <a:gd name="connsiteY56" fmla="*/ 1957009 h 3383038"/>
                    <a:gd name="connsiteX57" fmla="*/ 5998028 w 9160850"/>
                    <a:gd name="connsiteY57" fmla="*/ 2076752 h 3383038"/>
                    <a:gd name="connsiteX58" fmla="*/ 5780314 w 9160850"/>
                    <a:gd name="connsiteY58" fmla="*/ 2163838 h 3383038"/>
                    <a:gd name="connsiteX59" fmla="*/ 5236028 w 9160850"/>
                    <a:gd name="connsiteY59" fmla="*/ 2272695 h 3383038"/>
                    <a:gd name="connsiteX60" fmla="*/ 4147457 w 9160850"/>
                    <a:gd name="connsiteY60" fmla="*/ 2370666 h 3383038"/>
                    <a:gd name="connsiteX61" fmla="*/ 3113314 w 9160850"/>
                    <a:gd name="connsiteY61" fmla="*/ 2403323 h 3383038"/>
                    <a:gd name="connsiteX62" fmla="*/ 1915885 w 9160850"/>
                    <a:gd name="connsiteY62" fmla="*/ 2435981 h 3383038"/>
                    <a:gd name="connsiteX63" fmla="*/ 631371 w 9160850"/>
                    <a:gd name="connsiteY63" fmla="*/ 2457752 h 3383038"/>
                    <a:gd name="connsiteX64" fmla="*/ 250371 w 9160850"/>
                    <a:gd name="connsiteY64" fmla="*/ 2446866 h 3383038"/>
                    <a:gd name="connsiteX65" fmla="*/ 32657 w 9160850"/>
                    <a:gd name="connsiteY65" fmla="*/ 2457752 h 3383038"/>
                    <a:gd name="connsiteX66" fmla="*/ 32657 w 9160850"/>
                    <a:gd name="connsiteY66" fmla="*/ 2708123 h 3383038"/>
                    <a:gd name="connsiteX67" fmla="*/ 21771 w 9160850"/>
                    <a:gd name="connsiteY67" fmla="*/ 3121781 h 3383038"/>
                    <a:gd name="connsiteX68" fmla="*/ 0 w 9160850"/>
                    <a:gd name="connsiteY68"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7815942 w 9160850"/>
                    <a:gd name="connsiteY21" fmla="*/ 977295 h 3383038"/>
                    <a:gd name="connsiteX22" fmla="*/ 8011885 w 9160850"/>
                    <a:gd name="connsiteY22" fmla="*/ 944638 h 3383038"/>
                    <a:gd name="connsiteX23" fmla="*/ 8044542 w 9160850"/>
                    <a:gd name="connsiteY23" fmla="*/ 803123 h 3383038"/>
                    <a:gd name="connsiteX24" fmla="*/ 7761514 w 9160850"/>
                    <a:gd name="connsiteY24" fmla="*/ 661609 h 3383038"/>
                    <a:gd name="connsiteX25" fmla="*/ 7173685 w 9160850"/>
                    <a:gd name="connsiteY25" fmla="*/ 530981 h 3383038"/>
                    <a:gd name="connsiteX26" fmla="*/ 6466114 w 9160850"/>
                    <a:gd name="connsiteY26" fmla="*/ 400352 h 3383038"/>
                    <a:gd name="connsiteX27" fmla="*/ 5987142 w 9160850"/>
                    <a:gd name="connsiteY27" fmla="*/ 302381 h 3383038"/>
                    <a:gd name="connsiteX28" fmla="*/ 5976257 w 9160850"/>
                    <a:gd name="connsiteY28" fmla="*/ 258838 h 3383038"/>
                    <a:gd name="connsiteX29" fmla="*/ 6607628 w 9160850"/>
                    <a:gd name="connsiteY29" fmla="*/ 269723 h 3383038"/>
                    <a:gd name="connsiteX30" fmla="*/ 8447314 w 9160850"/>
                    <a:gd name="connsiteY30" fmla="*/ 302381 h 3383038"/>
                    <a:gd name="connsiteX31" fmla="*/ 9035142 w 9160850"/>
                    <a:gd name="connsiteY31" fmla="*/ 280609 h 3383038"/>
                    <a:gd name="connsiteX32" fmla="*/ 9154885 w 9160850"/>
                    <a:gd name="connsiteY32" fmla="*/ 280609 h 3383038"/>
                    <a:gd name="connsiteX33" fmla="*/ 9144000 w 9160850"/>
                    <a:gd name="connsiteY33" fmla="*/ 19352 h 3383038"/>
                    <a:gd name="connsiteX34" fmla="*/ 9154885 w 9160850"/>
                    <a:gd name="connsiteY34" fmla="*/ 19352 h 3383038"/>
                    <a:gd name="connsiteX35" fmla="*/ 8414657 w 9160850"/>
                    <a:gd name="connsiteY35" fmla="*/ 8466 h 3383038"/>
                    <a:gd name="connsiteX36" fmla="*/ 7783285 w 9160850"/>
                    <a:gd name="connsiteY36" fmla="*/ 8466 h 3383038"/>
                    <a:gd name="connsiteX37" fmla="*/ 6814457 w 9160850"/>
                    <a:gd name="connsiteY37" fmla="*/ 19352 h 3383038"/>
                    <a:gd name="connsiteX38" fmla="*/ 5867400 w 9160850"/>
                    <a:gd name="connsiteY38" fmla="*/ 30238 h 3383038"/>
                    <a:gd name="connsiteX39" fmla="*/ 5301342 w 9160850"/>
                    <a:gd name="connsiteY39" fmla="*/ 106438 h 3383038"/>
                    <a:gd name="connsiteX40" fmla="*/ 4996542 w 9160850"/>
                    <a:gd name="connsiteY40" fmla="*/ 160866 h 3383038"/>
                    <a:gd name="connsiteX41" fmla="*/ 5029200 w 9160850"/>
                    <a:gd name="connsiteY41" fmla="*/ 302381 h 3383038"/>
                    <a:gd name="connsiteX42" fmla="*/ 5431971 w 9160850"/>
                    <a:gd name="connsiteY42" fmla="*/ 433009 h 3383038"/>
                    <a:gd name="connsiteX43" fmla="*/ 5932714 w 9160850"/>
                    <a:gd name="connsiteY43" fmla="*/ 530981 h 3383038"/>
                    <a:gd name="connsiteX44" fmla="*/ 6444342 w 9160850"/>
                    <a:gd name="connsiteY44" fmla="*/ 618066 h 3383038"/>
                    <a:gd name="connsiteX45" fmla="*/ 6683828 w 9160850"/>
                    <a:gd name="connsiteY45" fmla="*/ 683381 h 3383038"/>
                    <a:gd name="connsiteX46" fmla="*/ 6574971 w 9160850"/>
                    <a:gd name="connsiteY46" fmla="*/ 770466 h 3383038"/>
                    <a:gd name="connsiteX47" fmla="*/ 5845628 w 9160850"/>
                    <a:gd name="connsiteY47" fmla="*/ 846666 h 3383038"/>
                    <a:gd name="connsiteX48" fmla="*/ 4942114 w 9160850"/>
                    <a:gd name="connsiteY48" fmla="*/ 933752 h 3383038"/>
                    <a:gd name="connsiteX49" fmla="*/ 4245428 w 9160850"/>
                    <a:gd name="connsiteY49" fmla="*/ 955523 h 3383038"/>
                    <a:gd name="connsiteX50" fmla="*/ 3374571 w 9160850"/>
                    <a:gd name="connsiteY50" fmla="*/ 1064381 h 3383038"/>
                    <a:gd name="connsiteX51" fmla="*/ 3265714 w 9160850"/>
                    <a:gd name="connsiteY51" fmla="*/ 1129695 h 3383038"/>
                    <a:gd name="connsiteX52" fmla="*/ 3265714 w 9160850"/>
                    <a:gd name="connsiteY52" fmla="*/ 1271209 h 3383038"/>
                    <a:gd name="connsiteX53" fmla="*/ 3614057 w 9160850"/>
                    <a:gd name="connsiteY53" fmla="*/ 1380066 h 3383038"/>
                    <a:gd name="connsiteX54" fmla="*/ 4604657 w 9160850"/>
                    <a:gd name="connsiteY54" fmla="*/ 1597781 h 3383038"/>
                    <a:gd name="connsiteX55" fmla="*/ 5529942 w 9160850"/>
                    <a:gd name="connsiteY55" fmla="*/ 1826381 h 3383038"/>
                    <a:gd name="connsiteX56" fmla="*/ 5867400 w 9160850"/>
                    <a:gd name="connsiteY56" fmla="*/ 1957009 h 3383038"/>
                    <a:gd name="connsiteX57" fmla="*/ 5998028 w 9160850"/>
                    <a:gd name="connsiteY57" fmla="*/ 2076752 h 3383038"/>
                    <a:gd name="connsiteX58" fmla="*/ 5780314 w 9160850"/>
                    <a:gd name="connsiteY58" fmla="*/ 2163838 h 3383038"/>
                    <a:gd name="connsiteX59" fmla="*/ 5236028 w 9160850"/>
                    <a:gd name="connsiteY59" fmla="*/ 2272695 h 3383038"/>
                    <a:gd name="connsiteX60" fmla="*/ 4147457 w 9160850"/>
                    <a:gd name="connsiteY60" fmla="*/ 2370666 h 3383038"/>
                    <a:gd name="connsiteX61" fmla="*/ 3113314 w 9160850"/>
                    <a:gd name="connsiteY61" fmla="*/ 2403323 h 3383038"/>
                    <a:gd name="connsiteX62" fmla="*/ 1915885 w 9160850"/>
                    <a:gd name="connsiteY62" fmla="*/ 2435981 h 3383038"/>
                    <a:gd name="connsiteX63" fmla="*/ 631371 w 9160850"/>
                    <a:gd name="connsiteY63" fmla="*/ 2457752 h 3383038"/>
                    <a:gd name="connsiteX64" fmla="*/ 239485 w 9160850"/>
                    <a:gd name="connsiteY64" fmla="*/ 2446866 h 3383038"/>
                    <a:gd name="connsiteX65" fmla="*/ 32657 w 9160850"/>
                    <a:gd name="connsiteY65" fmla="*/ 2457752 h 3383038"/>
                    <a:gd name="connsiteX66" fmla="*/ 32657 w 9160850"/>
                    <a:gd name="connsiteY66" fmla="*/ 2708123 h 3383038"/>
                    <a:gd name="connsiteX67" fmla="*/ 21771 w 9160850"/>
                    <a:gd name="connsiteY67" fmla="*/ 3121781 h 3383038"/>
                    <a:gd name="connsiteX68" fmla="*/ 0 w 9160850"/>
                    <a:gd name="connsiteY68"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7815942 w 9160850"/>
                    <a:gd name="connsiteY21" fmla="*/ 977295 h 3383038"/>
                    <a:gd name="connsiteX22" fmla="*/ 8011885 w 9160850"/>
                    <a:gd name="connsiteY22" fmla="*/ 944638 h 3383038"/>
                    <a:gd name="connsiteX23" fmla="*/ 8044542 w 9160850"/>
                    <a:gd name="connsiteY23" fmla="*/ 803123 h 3383038"/>
                    <a:gd name="connsiteX24" fmla="*/ 7761514 w 9160850"/>
                    <a:gd name="connsiteY24" fmla="*/ 661609 h 3383038"/>
                    <a:gd name="connsiteX25" fmla="*/ 7173685 w 9160850"/>
                    <a:gd name="connsiteY25" fmla="*/ 530981 h 3383038"/>
                    <a:gd name="connsiteX26" fmla="*/ 6466114 w 9160850"/>
                    <a:gd name="connsiteY26" fmla="*/ 400352 h 3383038"/>
                    <a:gd name="connsiteX27" fmla="*/ 5987142 w 9160850"/>
                    <a:gd name="connsiteY27" fmla="*/ 302381 h 3383038"/>
                    <a:gd name="connsiteX28" fmla="*/ 5976257 w 9160850"/>
                    <a:gd name="connsiteY28" fmla="*/ 258838 h 3383038"/>
                    <a:gd name="connsiteX29" fmla="*/ 6607628 w 9160850"/>
                    <a:gd name="connsiteY29" fmla="*/ 269723 h 3383038"/>
                    <a:gd name="connsiteX30" fmla="*/ 8447314 w 9160850"/>
                    <a:gd name="connsiteY30" fmla="*/ 302381 h 3383038"/>
                    <a:gd name="connsiteX31" fmla="*/ 9035142 w 9160850"/>
                    <a:gd name="connsiteY31" fmla="*/ 280609 h 3383038"/>
                    <a:gd name="connsiteX32" fmla="*/ 9154885 w 9160850"/>
                    <a:gd name="connsiteY32" fmla="*/ 280609 h 3383038"/>
                    <a:gd name="connsiteX33" fmla="*/ 9144000 w 9160850"/>
                    <a:gd name="connsiteY33" fmla="*/ 19352 h 3383038"/>
                    <a:gd name="connsiteX34" fmla="*/ 9154885 w 9160850"/>
                    <a:gd name="connsiteY34" fmla="*/ 19352 h 3383038"/>
                    <a:gd name="connsiteX35" fmla="*/ 8414657 w 9160850"/>
                    <a:gd name="connsiteY35" fmla="*/ 8466 h 3383038"/>
                    <a:gd name="connsiteX36" fmla="*/ 7783285 w 9160850"/>
                    <a:gd name="connsiteY36" fmla="*/ 8466 h 3383038"/>
                    <a:gd name="connsiteX37" fmla="*/ 6814457 w 9160850"/>
                    <a:gd name="connsiteY37" fmla="*/ 19352 h 3383038"/>
                    <a:gd name="connsiteX38" fmla="*/ 5867400 w 9160850"/>
                    <a:gd name="connsiteY38" fmla="*/ 30238 h 3383038"/>
                    <a:gd name="connsiteX39" fmla="*/ 5301342 w 9160850"/>
                    <a:gd name="connsiteY39" fmla="*/ 106438 h 3383038"/>
                    <a:gd name="connsiteX40" fmla="*/ 4996542 w 9160850"/>
                    <a:gd name="connsiteY40" fmla="*/ 160866 h 3383038"/>
                    <a:gd name="connsiteX41" fmla="*/ 5029200 w 9160850"/>
                    <a:gd name="connsiteY41" fmla="*/ 302381 h 3383038"/>
                    <a:gd name="connsiteX42" fmla="*/ 5431971 w 9160850"/>
                    <a:gd name="connsiteY42" fmla="*/ 433009 h 3383038"/>
                    <a:gd name="connsiteX43" fmla="*/ 5932714 w 9160850"/>
                    <a:gd name="connsiteY43" fmla="*/ 530981 h 3383038"/>
                    <a:gd name="connsiteX44" fmla="*/ 6444342 w 9160850"/>
                    <a:gd name="connsiteY44" fmla="*/ 618066 h 3383038"/>
                    <a:gd name="connsiteX45" fmla="*/ 6683828 w 9160850"/>
                    <a:gd name="connsiteY45" fmla="*/ 683381 h 3383038"/>
                    <a:gd name="connsiteX46" fmla="*/ 6574971 w 9160850"/>
                    <a:gd name="connsiteY46" fmla="*/ 770466 h 3383038"/>
                    <a:gd name="connsiteX47" fmla="*/ 5845628 w 9160850"/>
                    <a:gd name="connsiteY47" fmla="*/ 846666 h 3383038"/>
                    <a:gd name="connsiteX48" fmla="*/ 4942114 w 9160850"/>
                    <a:gd name="connsiteY48" fmla="*/ 933752 h 3383038"/>
                    <a:gd name="connsiteX49" fmla="*/ 4245428 w 9160850"/>
                    <a:gd name="connsiteY49" fmla="*/ 955523 h 3383038"/>
                    <a:gd name="connsiteX50" fmla="*/ 3374571 w 9160850"/>
                    <a:gd name="connsiteY50" fmla="*/ 1064381 h 3383038"/>
                    <a:gd name="connsiteX51" fmla="*/ 3265714 w 9160850"/>
                    <a:gd name="connsiteY51" fmla="*/ 1129695 h 3383038"/>
                    <a:gd name="connsiteX52" fmla="*/ 3265714 w 9160850"/>
                    <a:gd name="connsiteY52" fmla="*/ 1271209 h 3383038"/>
                    <a:gd name="connsiteX53" fmla="*/ 3614057 w 9160850"/>
                    <a:gd name="connsiteY53" fmla="*/ 1380066 h 3383038"/>
                    <a:gd name="connsiteX54" fmla="*/ 4604657 w 9160850"/>
                    <a:gd name="connsiteY54" fmla="*/ 1597781 h 3383038"/>
                    <a:gd name="connsiteX55" fmla="*/ 5529942 w 9160850"/>
                    <a:gd name="connsiteY55" fmla="*/ 1826381 h 3383038"/>
                    <a:gd name="connsiteX56" fmla="*/ 5867400 w 9160850"/>
                    <a:gd name="connsiteY56" fmla="*/ 1957009 h 3383038"/>
                    <a:gd name="connsiteX57" fmla="*/ 5998028 w 9160850"/>
                    <a:gd name="connsiteY57" fmla="*/ 2076752 h 3383038"/>
                    <a:gd name="connsiteX58" fmla="*/ 5780314 w 9160850"/>
                    <a:gd name="connsiteY58" fmla="*/ 2163838 h 3383038"/>
                    <a:gd name="connsiteX59" fmla="*/ 5236028 w 9160850"/>
                    <a:gd name="connsiteY59" fmla="*/ 2272695 h 3383038"/>
                    <a:gd name="connsiteX60" fmla="*/ 4147457 w 9160850"/>
                    <a:gd name="connsiteY60" fmla="*/ 2370666 h 3383038"/>
                    <a:gd name="connsiteX61" fmla="*/ 3113314 w 9160850"/>
                    <a:gd name="connsiteY61" fmla="*/ 2403323 h 3383038"/>
                    <a:gd name="connsiteX62" fmla="*/ 1915885 w 9160850"/>
                    <a:gd name="connsiteY62" fmla="*/ 2435981 h 3383038"/>
                    <a:gd name="connsiteX63" fmla="*/ 631371 w 9160850"/>
                    <a:gd name="connsiteY63" fmla="*/ 2457752 h 3383038"/>
                    <a:gd name="connsiteX64" fmla="*/ 239485 w 9160850"/>
                    <a:gd name="connsiteY64" fmla="*/ 2479523 h 3383038"/>
                    <a:gd name="connsiteX65" fmla="*/ 32657 w 9160850"/>
                    <a:gd name="connsiteY65" fmla="*/ 2457752 h 3383038"/>
                    <a:gd name="connsiteX66" fmla="*/ 32657 w 9160850"/>
                    <a:gd name="connsiteY66" fmla="*/ 2708123 h 3383038"/>
                    <a:gd name="connsiteX67" fmla="*/ 21771 w 9160850"/>
                    <a:gd name="connsiteY67" fmla="*/ 3121781 h 3383038"/>
                    <a:gd name="connsiteX68" fmla="*/ 0 w 9160850"/>
                    <a:gd name="connsiteY68"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7815942 w 9160850"/>
                    <a:gd name="connsiteY21" fmla="*/ 977295 h 3383038"/>
                    <a:gd name="connsiteX22" fmla="*/ 8011885 w 9160850"/>
                    <a:gd name="connsiteY22" fmla="*/ 944638 h 3383038"/>
                    <a:gd name="connsiteX23" fmla="*/ 8044542 w 9160850"/>
                    <a:gd name="connsiteY23" fmla="*/ 803123 h 3383038"/>
                    <a:gd name="connsiteX24" fmla="*/ 7761514 w 9160850"/>
                    <a:gd name="connsiteY24" fmla="*/ 661609 h 3383038"/>
                    <a:gd name="connsiteX25" fmla="*/ 7173685 w 9160850"/>
                    <a:gd name="connsiteY25" fmla="*/ 530981 h 3383038"/>
                    <a:gd name="connsiteX26" fmla="*/ 6466114 w 9160850"/>
                    <a:gd name="connsiteY26" fmla="*/ 400352 h 3383038"/>
                    <a:gd name="connsiteX27" fmla="*/ 5987142 w 9160850"/>
                    <a:gd name="connsiteY27" fmla="*/ 302381 h 3383038"/>
                    <a:gd name="connsiteX28" fmla="*/ 5976257 w 9160850"/>
                    <a:gd name="connsiteY28" fmla="*/ 258838 h 3383038"/>
                    <a:gd name="connsiteX29" fmla="*/ 6607628 w 9160850"/>
                    <a:gd name="connsiteY29" fmla="*/ 269723 h 3383038"/>
                    <a:gd name="connsiteX30" fmla="*/ 8447314 w 9160850"/>
                    <a:gd name="connsiteY30" fmla="*/ 302381 h 3383038"/>
                    <a:gd name="connsiteX31" fmla="*/ 9035142 w 9160850"/>
                    <a:gd name="connsiteY31" fmla="*/ 302381 h 3383038"/>
                    <a:gd name="connsiteX32" fmla="*/ 9154885 w 9160850"/>
                    <a:gd name="connsiteY32" fmla="*/ 280609 h 3383038"/>
                    <a:gd name="connsiteX33" fmla="*/ 9144000 w 9160850"/>
                    <a:gd name="connsiteY33" fmla="*/ 19352 h 3383038"/>
                    <a:gd name="connsiteX34" fmla="*/ 9154885 w 9160850"/>
                    <a:gd name="connsiteY34" fmla="*/ 19352 h 3383038"/>
                    <a:gd name="connsiteX35" fmla="*/ 8414657 w 9160850"/>
                    <a:gd name="connsiteY35" fmla="*/ 8466 h 3383038"/>
                    <a:gd name="connsiteX36" fmla="*/ 7783285 w 9160850"/>
                    <a:gd name="connsiteY36" fmla="*/ 8466 h 3383038"/>
                    <a:gd name="connsiteX37" fmla="*/ 6814457 w 9160850"/>
                    <a:gd name="connsiteY37" fmla="*/ 19352 h 3383038"/>
                    <a:gd name="connsiteX38" fmla="*/ 5867400 w 9160850"/>
                    <a:gd name="connsiteY38" fmla="*/ 30238 h 3383038"/>
                    <a:gd name="connsiteX39" fmla="*/ 5301342 w 9160850"/>
                    <a:gd name="connsiteY39" fmla="*/ 106438 h 3383038"/>
                    <a:gd name="connsiteX40" fmla="*/ 4996542 w 9160850"/>
                    <a:gd name="connsiteY40" fmla="*/ 160866 h 3383038"/>
                    <a:gd name="connsiteX41" fmla="*/ 5029200 w 9160850"/>
                    <a:gd name="connsiteY41" fmla="*/ 302381 h 3383038"/>
                    <a:gd name="connsiteX42" fmla="*/ 5431971 w 9160850"/>
                    <a:gd name="connsiteY42" fmla="*/ 433009 h 3383038"/>
                    <a:gd name="connsiteX43" fmla="*/ 5932714 w 9160850"/>
                    <a:gd name="connsiteY43" fmla="*/ 530981 h 3383038"/>
                    <a:gd name="connsiteX44" fmla="*/ 6444342 w 9160850"/>
                    <a:gd name="connsiteY44" fmla="*/ 618066 h 3383038"/>
                    <a:gd name="connsiteX45" fmla="*/ 6683828 w 9160850"/>
                    <a:gd name="connsiteY45" fmla="*/ 683381 h 3383038"/>
                    <a:gd name="connsiteX46" fmla="*/ 6574971 w 9160850"/>
                    <a:gd name="connsiteY46" fmla="*/ 770466 h 3383038"/>
                    <a:gd name="connsiteX47" fmla="*/ 5845628 w 9160850"/>
                    <a:gd name="connsiteY47" fmla="*/ 846666 h 3383038"/>
                    <a:gd name="connsiteX48" fmla="*/ 4942114 w 9160850"/>
                    <a:gd name="connsiteY48" fmla="*/ 933752 h 3383038"/>
                    <a:gd name="connsiteX49" fmla="*/ 4245428 w 9160850"/>
                    <a:gd name="connsiteY49" fmla="*/ 955523 h 3383038"/>
                    <a:gd name="connsiteX50" fmla="*/ 3374571 w 9160850"/>
                    <a:gd name="connsiteY50" fmla="*/ 1064381 h 3383038"/>
                    <a:gd name="connsiteX51" fmla="*/ 3265714 w 9160850"/>
                    <a:gd name="connsiteY51" fmla="*/ 1129695 h 3383038"/>
                    <a:gd name="connsiteX52" fmla="*/ 3265714 w 9160850"/>
                    <a:gd name="connsiteY52" fmla="*/ 1271209 h 3383038"/>
                    <a:gd name="connsiteX53" fmla="*/ 3614057 w 9160850"/>
                    <a:gd name="connsiteY53" fmla="*/ 1380066 h 3383038"/>
                    <a:gd name="connsiteX54" fmla="*/ 4604657 w 9160850"/>
                    <a:gd name="connsiteY54" fmla="*/ 1597781 h 3383038"/>
                    <a:gd name="connsiteX55" fmla="*/ 5529942 w 9160850"/>
                    <a:gd name="connsiteY55" fmla="*/ 1826381 h 3383038"/>
                    <a:gd name="connsiteX56" fmla="*/ 5867400 w 9160850"/>
                    <a:gd name="connsiteY56" fmla="*/ 1957009 h 3383038"/>
                    <a:gd name="connsiteX57" fmla="*/ 5998028 w 9160850"/>
                    <a:gd name="connsiteY57" fmla="*/ 2076752 h 3383038"/>
                    <a:gd name="connsiteX58" fmla="*/ 5780314 w 9160850"/>
                    <a:gd name="connsiteY58" fmla="*/ 2163838 h 3383038"/>
                    <a:gd name="connsiteX59" fmla="*/ 5236028 w 9160850"/>
                    <a:gd name="connsiteY59" fmla="*/ 2272695 h 3383038"/>
                    <a:gd name="connsiteX60" fmla="*/ 4147457 w 9160850"/>
                    <a:gd name="connsiteY60" fmla="*/ 2370666 h 3383038"/>
                    <a:gd name="connsiteX61" fmla="*/ 3113314 w 9160850"/>
                    <a:gd name="connsiteY61" fmla="*/ 2403323 h 3383038"/>
                    <a:gd name="connsiteX62" fmla="*/ 1915885 w 9160850"/>
                    <a:gd name="connsiteY62" fmla="*/ 2435981 h 3383038"/>
                    <a:gd name="connsiteX63" fmla="*/ 631371 w 9160850"/>
                    <a:gd name="connsiteY63" fmla="*/ 2457752 h 3383038"/>
                    <a:gd name="connsiteX64" fmla="*/ 239485 w 9160850"/>
                    <a:gd name="connsiteY64" fmla="*/ 2479523 h 3383038"/>
                    <a:gd name="connsiteX65" fmla="*/ 32657 w 9160850"/>
                    <a:gd name="connsiteY65" fmla="*/ 2457752 h 3383038"/>
                    <a:gd name="connsiteX66" fmla="*/ 32657 w 9160850"/>
                    <a:gd name="connsiteY66" fmla="*/ 2708123 h 3383038"/>
                    <a:gd name="connsiteX67" fmla="*/ 21771 w 9160850"/>
                    <a:gd name="connsiteY67" fmla="*/ 3121781 h 3383038"/>
                    <a:gd name="connsiteX68" fmla="*/ 0 w 9160850"/>
                    <a:gd name="connsiteY68"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7315200 w 9160850"/>
                    <a:gd name="connsiteY20" fmla="*/ 1053495 h 3383038"/>
                    <a:gd name="connsiteX21" fmla="*/ 8011885 w 9160850"/>
                    <a:gd name="connsiteY21" fmla="*/ 944638 h 3383038"/>
                    <a:gd name="connsiteX22" fmla="*/ 8044542 w 9160850"/>
                    <a:gd name="connsiteY22" fmla="*/ 803123 h 3383038"/>
                    <a:gd name="connsiteX23" fmla="*/ 7761514 w 9160850"/>
                    <a:gd name="connsiteY23" fmla="*/ 661609 h 3383038"/>
                    <a:gd name="connsiteX24" fmla="*/ 7173685 w 9160850"/>
                    <a:gd name="connsiteY24" fmla="*/ 530981 h 3383038"/>
                    <a:gd name="connsiteX25" fmla="*/ 6466114 w 9160850"/>
                    <a:gd name="connsiteY25" fmla="*/ 400352 h 3383038"/>
                    <a:gd name="connsiteX26" fmla="*/ 5987142 w 9160850"/>
                    <a:gd name="connsiteY26" fmla="*/ 302381 h 3383038"/>
                    <a:gd name="connsiteX27" fmla="*/ 5976257 w 9160850"/>
                    <a:gd name="connsiteY27" fmla="*/ 258838 h 3383038"/>
                    <a:gd name="connsiteX28" fmla="*/ 6607628 w 9160850"/>
                    <a:gd name="connsiteY28" fmla="*/ 269723 h 3383038"/>
                    <a:gd name="connsiteX29" fmla="*/ 8447314 w 9160850"/>
                    <a:gd name="connsiteY29" fmla="*/ 302381 h 3383038"/>
                    <a:gd name="connsiteX30" fmla="*/ 9035142 w 9160850"/>
                    <a:gd name="connsiteY30" fmla="*/ 302381 h 3383038"/>
                    <a:gd name="connsiteX31" fmla="*/ 9154885 w 9160850"/>
                    <a:gd name="connsiteY31" fmla="*/ 280609 h 3383038"/>
                    <a:gd name="connsiteX32" fmla="*/ 9144000 w 9160850"/>
                    <a:gd name="connsiteY32" fmla="*/ 19352 h 3383038"/>
                    <a:gd name="connsiteX33" fmla="*/ 9154885 w 9160850"/>
                    <a:gd name="connsiteY33" fmla="*/ 19352 h 3383038"/>
                    <a:gd name="connsiteX34" fmla="*/ 8414657 w 9160850"/>
                    <a:gd name="connsiteY34" fmla="*/ 8466 h 3383038"/>
                    <a:gd name="connsiteX35" fmla="*/ 7783285 w 9160850"/>
                    <a:gd name="connsiteY35" fmla="*/ 8466 h 3383038"/>
                    <a:gd name="connsiteX36" fmla="*/ 6814457 w 9160850"/>
                    <a:gd name="connsiteY36" fmla="*/ 19352 h 3383038"/>
                    <a:gd name="connsiteX37" fmla="*/ 5867400 w 9160850"/>
                    <a:gd name="connsiteY37" fmla="*/ 30238 h 3383038"/>
                    <a:gd name="connsiteX38" fmla="*/ 5301342 w 9160850"/>
                    <a:gd name="connsiteY38" fmla="*/ 106438 h 3383038"/>
                    <a:gd name="connsiteX39" fmla="*/ 4996542 w 9160850"/>
                    <a:gd name="connsiteY39" fmla="*/ 160866 h 3383038"/>
                    <a:gd name="connsiteX40" fmla="*/ 5029200 w 9160850"/>
                    <a:gd name="connsiteY40" fmla="*/ 302381 h 3383038"/>
                    <a:gd name="connsiteX41" fmla="*/ 5431971 w 9160850"/>
                    <a:gd name="connsiteY41" fmla="*/ 433009 h 3383038"/>
                    <a:gd name="connsiteX42" fmla="*/ 5932714 w 9160850"/>
                    <a:gd name="connsiteY42" fmla="*/ 530981 h 3383038"/>
                    <a:gd name="connsiteX43" fmla="*/ 6444342 w 9160850"/>
                    <a:gd name="connsiteY43" fmla="*/ 618066 h 3383038"/>
                    <a:gd name="connsiteX44" fmla="*/ 6683828 w 9160850"/>
                    <a:gd name="connsiteY44" fmla="*/ 683381 h 3383038"/>
                    <a:gd name="connsiteX45" fmla="*/ 6574971 w 9160850"/>
                    <a:gd name="connsiteY45" fmla="*/ 770466 h 3383038"/>
                    <a:gd name="connsiteX46" fmla="*/ 5845628 w 9160850"/>
                    <a:gd name="connsiteY46" fmla="*/ 846666 h 3383038"/>
                    <a:gd name="connsiteX47" fmla="*/ 4942114 w 9160850"/>
                    <a:gd name="connsiteY47" fmla="*/ 933752 h 3383038"/>
                    <a:gd name="connsiteX48" fmla="*/ 4245428 w 9160850"/>
                    <a:gd name="connsiteY48" fmla="*/ 955523 h 3383038"/>
                    <a:gd name="connsiteX49" fmla="*/ 3374571 w 9160850"/>
                    <a:gd name="connsiteY49" fmla="*/ 1064381 h 3383038"/>
                    <a:gd name="connsiteX50" fmla="*/ 3265714 w 9160850"/>
                    <a:gd name="connsiteY50" fmla="*/ 1129695 h 3383038"/>
                    <a:gd name="connsiteX51" fmla="*/ 3265714 w 9160850"/>
                    <a:gd name="connsiteY51" fmla="*/ 1271209 h 3383038"/>
                    <a:gd name="connsiteX52" fmla="*/ 3614057 w 9160850"/>
                    <a:gd name="connsiteY52" fmla="*/ 1380066 h 3383038"/>
                    <a:gd name="connsiteX53" fmla="*/ 4604657 w 9160850"/>
                    <a:gd name="connsiteY53" fmla="*/ 1597781 h 3383038"/>
                    <a:gd name="connsiteX54" fmla="*/ 5529942 w 9160850"/>
                    <a:gd name="connsiteY54" fmla="*/ 1826381 h 3383038"/>
                    <a:gd name="connsiteX55" fmla="*/ 5867400 w 9160850"/>
                    <a:gd name="connsiteY55" fmla="*/ 1957009 h 3383038"/>
                    <a:gd name="connsiteX56" fmla="*/ 5998028 w 9160850"/>
                    <a:gd name="connsiteY56" fmla="*/ 2076752 h 3383038"/>
                    <a:gd name="connsiteX57" fmla="*/ 5780314 w 9160850"/>
                    <a:gd name="connsiteY57" fmla="*/ 2163838 h 3383038"/>
                    <a:gd name="connsiteX58" fmla="*/ 5236028 w 9160850"/>
                    <a:gd name="connsiteY58" fmla="*/ 2272695 h 3383038"/>
                    <a:gd name="connsiteX59" fmla="*/ 4147457 w 9160850"/>
                    <a:gd name="connsiteY59" fmla="*/ 2370666 h 3383038"/>
                    <a:gd name="connsiteX60" fmla="*/ 3113314 w 9160850"/>
                    <a:gd name="connsiteY60" fmla="*/ 2403323 h 3383038"/>
                    <a:gd name="connsiteX61" fmla="*/ 1915885 w 9160850"/>
                    <a:gd name="connsiteY61" fmla="*/ 2435981 h 3383038"/>
                    <a:gd name="connsiteX62" fmla="*/ 631371 w 9160850"/>
                    <a:gd name="connsiteY62" fmla="*/ 2457752 h 3383038"/>
                    <a:gd name="connsiteX63" fmla="*/ 239485 w 9160850"/>
                    <a:gd name="connsiteY63" fmla="*/ 2479523 h 3383038"/>
                    <a:gd name="connsiteX64" fmla="*/ 32657 w 9160850"/>
                    <a:gd name="connsiteY64" fmla="*/ 2457752 h 3383038"/>
                    <a:gd name="connsiteX65" fmla="*/ 32657 w 9160850"/>
                    <a:gd name="connsiteY65" fmla="*/ 2708123 h 3383038"/>
                    <a:gd name="connsiteX66" fmla="*/ 21771 w 9160850"/>
                    <a:gd name="connsiteY66" fmla="*/ 3121781 h 3383038"/>
                    <a:gd name="connsiteX67" fmla="*/ 0 w 9160850"/>
                    <a:gd name="connsiteY67"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11885 w 9160850"/>
                    <a:gd name="connsiteY20" fmla="*/ 944638 h 3383038"/>
                    <a:gd name="connsiteX21" fmla="*/ 8044542 w 9160850"/>
                    <a:gd name="connsiteY21" fmla="*/ 803123 h 3383038"/>
                    <a:gd name="connsiteX22" fmla="*/ 7761514 w 9160850"/>
                    <a:gd name="connsiteY22" fmla="*/ 661609 h 3383038"/>
                    <a:gd name="connsiteX23" fmla="*/ 7173685 w 9160850"/>
                    <a:gd name="connsiteY23" fmla="*/ 530981 h 3383038"/>
                    <a:gd name="connsiteX24" fmla="*/ 6466114 w 9160850"/>
                    <a:gd name="connsiteY24" fmla="*/ 400352 h 3383038"/>
                    <a:gd name="connsiteX25" fmla="*/ 5987142 w 9160850"/>
                    <a:gd name="connsiteY25" fmla="*/ 302381 h 3383038"/>
                    <a:gd name="connsiteX26" fmla="*/ 5976257 w 9160850"/>
                    <a:gd name="connsiteY26" fmla="*/ 258838 h 3383038"/>
                    <a:gd name="connsiteX27" fmla="*/ 6607628 w 9160850"/>
                    <a:gd name="connsiteY27" fmla="*/ 269723 h 3383038"/>
                    <a:gd name="connsiteX28" fmla="*/ 8447314 w 9160850"/>
                    <a:gd name="connsiteY28" fmla="*/ 302381 h 3383038"/>
                    <a:gd name="connsiteX29" fmla="*/ 9035142 w 9160850"/>
                    <a:gd name="connsiteY29" fmla="*/ 302381 h 3383038"/>
                    <a:gd name="connsiteX30" fmla="*/ 9154885 w 9160850"/>
                    <a:gd name="connsiteY30" fmla="*/ 280609 h 3383038"/>
                    <a:gd name="connsiteX31" fmla="*/ 9144000 w 9160850"/>
                    <a:gd name="connsiteY31" fmla="*/ 19352 h 3383038"/>
                    <a:gd name="connsiteX32" fmla="*/ 9154885 w 9160850"/>
                    <a:gd name="connsiteY32" fmla="*/ 19352 h 3383038"/>
                    <a:gd name="connsiteX33" fmla="*/ 8414657 w 9160850"/>
                    <a:gd name="connsiteY33" fmla="*/ 8466 h 3383038"/>
                    <a:gd name="connsiteX34" fmla="*/ 7783285 w 9160850"/>
                    <a:gd name="connsiteY34" fmla="*/ 8466 h 3383038"/>
                    <a:gd name="connsiteX35" fmla="*/ 6814457 w 9160850"/>
                    <a:gd name="connsiteY35" fmla="*/ 19352 h 3383038"/>
                    <a:gd name="connsiteX36" fmla="*/ 5867400 w 9160850"/>
                    <a:gd name="connsiteY36" fmla="*/ 30238 h 3383038"/>
                    <a:gd name="connsiteX37" fmla="*/ 5301342 w 9160850"/>
                    <a:gd name="connsiteY37" fmla="*/ 106438 h 3383038"/>
                    <a:gd name="connsiteX38" fmla="*/ 4996542 w 9160850"/>
                    <a:gd name="connsiteY38" fmla="*/ 160866 h 3383038"/>
                    <a:gd name="connsiteX39" fmla="*/ 5029200 w 9160850"/>
                    <a:gd name="connsiteY39" fmla="*/ 302381 h 3383038"/>
                    <a:gd name="connsiteX40" fmla="*/ 5431971 w 9160850"/>
                    <a:gd name="connsiteY40" fmla="*/ 433009 h 3383038"/>
                    <a:gd name="connsiteX41" fmla="*/ 5932714 w 9160850"/>
                    <a:gd name="connsiteY41" fmla="*/ 530981 h 3383038"/>
                    <a:gd name="connsiteX42" fmla="*/ 6444342 w 9160850"/>
                    <a:gd name="connsiteY42" fmla="*/ 618066 h 3383038"/>
                    <a:gd name="connsiteX43" fmla="*/ 6683828 w 9160850"/>
                    <a:gd name="connsiteY43" fmla="*/ 683381 h 3383038"/>
                    <a:gd name="connsiteX44" fmla="*/ 6574971 w 9160850"/>
                    <a:gd name="connsiteY44" fmla="*/ 770466 h 3383038"/>
                    <a:gd name="connsiteX45" fmla="*/ 5845628 w 9160850"/>
                    <a:gd name="connsiteY45" fmla="*/ 846666 h 3383038"/>
                    <a:gd name="connsiteX46" fmla="*/ 4942114 w 9160850"/>
                    <a:gd name="connsiteY46" fmla="*/ 933752 h 3383038"/>
                    <a:gd name="connsiteX47" fmla="*/ 4245428 w 9160850"/>
                    <a:gd name="connsiteY47" fmla="*/ 955523 h 3383038"/>
                    <a:gd name="connsiteX48" fmla="*/ 3374571 w 9160850"/>
                    <a:gd name="connsiteY48" fmla="*/ 1064381 h 3383038"/>
                    <a:gd name="connsiteX49" fmla="*/ 3265714 w 9160850"/>
                    <a:gd name="connsiteY49" fmla="*/ 1129695 h 3383038"/>
                    <a:gd name="connsiteX50" fmla="*/ 3265714 w 9160850"/>
                    <a:gd name="connsiteY50" fmla="*/ 1271209 h 3383038"/>
                    <a:gd name="connsiteX51" fmla="*/ 3614057 w 9160850"/>
                    <a:gd name="connsiteY51" fmla="*/ 1380066 h 3383038"/>
                    <a:gd name="connsiteX52" fmla="*/ 4604657 w 9160850"/>
                    <a:gd name="connsiteY52" fmla="*/ 1597781 h 3383038"/>
                    <a:gd name="connsiteX53" fmla="*/ 5529942 w 9160850"/>
                    <a:gd name="connsiteY53" fmla="*/ 1826381 h 3383038"/>
                    <a:gd name="connsiteX54" fmla="*/ 5867400 w 9160850"/>
                    <a:gd name="connsiteY54" fmla="*/ 1957009 h 3383038"/>
                    <a:gd name="connsiteX55" fmla="*/ 5998028 w 9160850"/>
                    <a:gd name="connsiteY55" fmla="*/ 2076752 h 3383038"/>
                    <a:gd name="connsiteX56" fmla="*/ 5780314 w 9160850"/>
                    <a:gd name="connsiteY56" fmla="*/ 2163838 h 3383038"/>
                    <a:gd name="connsiteX57" fmla="*/ 5236028 w 9160850"/>
                    <a:gd name="connsiteY57" fmla="*/ 2272695 h 3383038"/>
                    <a:gd name="connsiteX58" fmla="*/ 4147457 w 9160850"/>
                    <a:gd name="connsiteY58" fmla="*/ 2370666 h 3383038"/>
                    <a:gd name="connsiteX59" fmla="*/ 3113314 w 9160850"/>
                    <a:gd name="connsiteY59" fmla="*/ 2403323 h 3383038"/>
                    <a:gd name="connsiteX60" fmla="*/ 1915885 w 9160850"/>
                    <a:gd name="connsiteY60" fmla="*/ 2435981 h 3383038"/>
                    <a:gd name="connsiteX61" fmla="*/ 631371 w 9160850"/>
                    <a:gd name="connsiteY61" fmla="*/ 2457752 h 3383038"/>
                    <a:gd name="connsiteX62" fmla="*/ 239485 w 9160850"/>
                    <a:gd name="connsiteY62" fmla="*/ 2479523 h 3383038"/>
                    <a:gd name="connsiteX63" fmla="*/ 32657 w 9160850"/>
                    <a:gd name="connsiteY63" fmla="*/ 2457752 h 3383038"/>
                    <a:gd name="connsiteX64" fmla="*/ 32657 w 9160850"/>
                    <a:gd name="connsiteY64" fmla="*/ 2708123 h 3383038"/>
                    <a:gd name="connsiteX65" fmla="*/ 21771 w 9160850"/>
                    <a:gd name="connsiteY65" fmla="*/ 3121781 h 3383038"/>
                    <a:gd name="connsiteX66" fmla="*/ 0 w 9160850"/>
                    <a:gd name="connsiteY66"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11885 w 9160850"/>
                    <a:gd name="connsiteY20" fmla="*/ 944638 h 3383038"/>
                    <a:gd name="connsiteX21" fmla="*/ 7761514 w 9160850"/>
                    <a:gd name="connsiteY21" fmla="*/ 661609 h 3383038"/>
                    <a:gd name="connsiteX22" fmla="*/ 7173685 w 9160850"/>
                    <a:gd name="connsiteY22" fmla="*/ 530981 h 3383038"/>
                    <a:gd name="connsiteX23" fmla="*/ 6466114 w 9160850"/>
                    <a:gd name="connsiteY23" fmla="*/ 400352 h 3383038"/>
                    <a:gd name="connsiteX24" fmla="*/ 5987142 w 9160850"/>
                    <a:gd name="connsiteY24" fmla="*/ 302381 h 3383038"/>
                    <a:gd name="connsiteX25" fmla="*/ 5976257 w 9160850"/>
                    <a:gd name="connsiteY25" fmla="*/ 258838 h 3383038"/>
                    <a:gd name="connsiteX26" fmla="*/ 6607628 w 9160850"/>
                    <a:gd name="connsiteY26" fmla="*/ 269723 h 3383038"/>
                    <a:gd name="connsiteX27" fmla="*/ 8447314 w 9160850"/>
                    <a:gd name="connsiteY27" fmla="*/ 302381 h 3383038"/>
                    <a:gd name="connsiteX28" fmla="*/ 9035142 w 9160850"/>
                    <a:gd name="connsiteY28" fmla="*/ 302381 h 3383038"/>
                    <a:gd name="connsiteX29" fmla="*/ 9154885 w 9160850"/>
                    <a:gd name="connsiteY29" fmla="*/ 280609 h 3383038"/>
                    <a:gd name="connsiteX30" fmla="*/ 9144000 w 9160850"/>
                    <a:gd name="connsiteY30" fmla="*/ 19352 h 3383038"/>
                    <a:gd name="connsiteX31" fmla="*/ 9154885 w 9160850"/>
                    <a:gd name="connsiteY31" fmla="*/ 19352 h 3383038"/>
                    <a:gd name="connsiteX32" fmla="*/ 8414657 w 9160850"/>
                    <a:gd name="connsiteY32" fmla="*/ 8466 h 3383038"/>
                    <a:gd name="connsiteX33" fmla="*/ 7783285 w 9160850"/>
                    <a:gd name="connsiteY33" fmla="*/ 8466 h 3383038"/>
                    <a:gd name="connsiteX34" fmla="*/ 6814457 w 9160850"/>
                    <a:gd name="connsiteY34" fmla="*/ 19352 h 3383038"/>
                    <a:gd name="connsiteX35" fmla="*/ 5867400 w 9160850"/>
                    <a:gd name="connsiteY35" fmla="*/ 30238 h 3383038"/>
                    <a:gd name="connsiteX36" fmla="*/ 5301342 w 9160850"/>
                    <a:gd name="connsiteY36" fmla="*/ 106438 h 3383038"/>
                    <a:gd name="connsiteX37" fmla="*/ 4996542 w 9160850"/>
                    <a:gd name="connsiteY37" fmla="*/ 160866 h 3383038"/>
                    <a:gd name="connsiteX38" fmla="*/ 5029200 w 9160850"/>
                    <a:gd name="connsiteY38" fmla="*/ 302381 h 3383038"/>
                    <a:gd name="connsiteX39" fmla="*/ 5431971 w 9160850"/>
                    <a:gd name="connsiteY39" fmla="*/ 433009 h 3383038"/>
                    <a:gd name="connsiteX40" fmla="*/ 5932714 w 9160850"/>
                    <a:gd name="connsiteY40" fmla="*/ 530981 h 3383038"/>
                    <a:gd name="connsiteX41" fmla="*/ 6444342 w 9160850"/>
                    <a:gd name="connsiteY41" fmla="*/ 618066 h 3383038"/>
                    <a:gd name="connsiteX42" fmla="*/ 6683828 w 9160850"/>
                    <a:gd name="connsiteY42" fmla="*/ 683381 h 3383038"/>
                    <a:gd name="connsiteX43" fmla="*/ 6574971 w 9160850"/>
                    <a:gd name="connsiteY43" fmla="*/ 770466 h 3383038"/>
                    <a:gd name="connsiteX44" fmla="*/ 5845628 w 9160850"/>
                    <a:gd name="connsiteY44" fmla="*/ 846666 h 3383038"/>
                    <a:gd name="connsiteX45" fmla="*/ 4942114 w 9160850"/>
                    <a:gd name="connsiteY45" fmla="*/ 933752 h 3383038"/>
                    <a:gd name="connsiteX46" fmla="*/ 4245428 w 9160850"/>
                    <a:gd name="connsiteY46" fmla="*/ 955523 h 3383038"/>
                    <a:gd name="connsiteX47" fmla="*/ 3374571 w 9160850"/>
                    <a:gd name="connsiteY47" fmla="*/ 1064381 h 3383038"/>
                    <a:gd name="connsiteX48" fmla="*/ 3265714 w 9160850"/>
                    <a:gd name="connsiteY48" fmla="*/ 1129695 h 3383038"/>
                    <a:gd name="connsiteX49" fmla="*/ 3265714 w 9160850"/>
                    <a:gd name="connsiteY49" fmla="*/ 1271209 h 3383038"/>
                    <a:gd name="connsiteX50" fmla="*/ 3614057 w 9160850"/>
                    <a:gd name="connsiteY50" fmla="*/ 1380066 h 3383038"/>
                    <a:gd name="connsiteX51" fmla="*/ 4604657 w 9160850"/>
                    <a:gd name="connsiteY51" fmla="*/ 1597781 h 3383038"/>
                    <a:gd name="connsiteX52" fmla="*/ 5529942 w 9160850"/>
                    <a:gd name="connsiteY52" fmla="*/ 1826381 h 3383038"/>
                    <a:gd name="connsiteX53" fmla="*/ 5867400 w 9160850"/>
                    <a:gd name="connsiteY53" fmla="*/ 1957009 h 3383038"/>
                    <a:gd name="connsiteX54" fmla="*/ 5998028 w 9160850"/>
                    <a:gd name="connsiteY54" fmla="*/ 2076752 h 3383038"/>
                    <a:gd name="connsiteX55" fmla="*/ 5780314 w 9160850"/>
                    <a:gd name="connsiteY55" fmla="*/ 2163838 h 3383038"/>
                    <a:gd name="connsiteX56" fmla="*/ 5236028 w 9160850"/>
                    <a:gd name="connsiteY56" fmla="*/ 2272695 h 3383038"/>
                    <a:gd name="connsiteX57" fmla="*/ 4147457 w 9160850"/>
                    <a:gd name="connsiteY57" fmla="*/ 2370666 h 3383038"/>
                    <a:gd name="connsiteX58" fmla="*/ 3113314 w 9160850"/>
                    <a:gd name="connsiteY58" fmla="*/ 2403323 h 3383038"/>
                    <a:gd name="connsiteX59" fmla="*/ 1915885 w 9160850"/>
                    <a:gd name="connsiteY59" fmla="*/ 2435981 h 3383038"/>
                    <a:gd name="connsiteX60" fmla="*/ 631371 w 9160850"/>
                    <a:gd name="connsiteY60" fmla="*/ 2457752 h 3383038"/>
                    <a:gd name="connsiteX61" fmla="*/ 239485 w 9160850"/>
                    <a:gd name="connsiteY61" fmla="*/ 2479523 h 3383038"/>
                    <a:gd name="connsiteX62" fmla="*/ 32657 w 9160850"/>
                    <a:gd name="connsiteY62" fmla="*/ 2457752 h 3383038"/>
                    <a:gd name="connsiteX63" fmla="*/ 32657 w 9160850"/>
                    <a:gd name="connsiteY63" fmla="*/ 2708123 h 3383038"/>
                    <a:gd name="connsiteX64" fmla="*/ 21771 w 9160850"/>
                    <a:gd name="connsiteY64" fmla="*/ 3121781 h 3383038"/>
                    <a:gd name="connsiteX65" fmla="*/ 0 w 9160850"/>
                    <a:gd name="connsiteY65"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22770 w 9160850"/>
                    <a:gd name="connsiteY20" fmla="*/ 944638 h 3383038"/>
                    <a:gd name="connsiteX21" fmla="*/ 7761514 w 9160850"/>
                    <a:gd name="connsiteY21" fmla="*/ 661609 h 3383038"/>
                    <a:gd name="connsiteX22" fmla="*/ 7173685 w 9160850"/>
                    <a:gd name="connsiteY22" fmla="*/ 530981 h 3383038"/>
                    <a:gd name="connsiteX23" fmla="*/ 6466114 w 9160850"/>
                    <a:gd name="connsiteY23" fmla="*/ 400352 h 3383038"/>
                    <a:gd name="connsiteX24" fmla="*/ 5987142 w 9160850"/>
                    <a:gd name="connsiteY24" fmla="*/ 302381 h 3383038"/>
                    <a:gd name="connsiteX25" fmla="*/ 5976257 w 9160850"/>
                    <a:gd name="connsiteY25" fmla="*/ 258838 h 3383038"/>
                    <a:gd name="connsiteX26" fmla="*/ 6607628 w 9160850"/>
                    <a:gd name="connsiteY26" fmla="*/ 269723 h 3383038"/>
                    <a:gd name="connsiteX27" fmla="*/ 8447314 w 9160850"/>
                    <a:gd name="connsiteY27" fmla="*/ 302381 h 3383038"/>
                    <a:gd name="connsiteX28" fmla="*/ 9035142 w 9160850"/>
                    <a:gd name="connsiteY28" fmla="*/ 302381 h 3383038"/>
                    <a:gd name="connsiteX29" fmla="*/ 9154885 w 9160850"/>
                    <a:gd name="connsiteY29" fmla="*/ 280609 h 3383038"/>
                    <a:gd name="connsiteX30" fmla="*/ 9144000 w 9160850"/>
                    <a:gd name="connsiteY30" fmla="*/ 19352 h 3383038"/>
                    <a:gd name="connsiteX31" fmla="*/ 9154885 w 9160850"/>
                    <a:gd name="connsiteY31" fmla="*/ 19352 h 3383038"/>
                    <a:gd name="connsiteX32" fmla="*/ 8414657 w 9160850"/>
                    <a:gd name="connsiteY32" fmla="*/ 8466 h 3383038"/>
                    <a:gd name="connsiteX33" fmla="*/ 7783285 w 9160850"/>
                    <a:gd name="connsiteY33" fmla="*/ 8466 h 3383038"/>
                    <a:gd name="connsiteX34" fmla="*/ 6814457 w 9160850"/>
                    <a:gd name="connsiteY34" fmla="*/ 19352 h 3383038"/>
                    <a:gd name="connsiteX35" fmla="*/ 5867400 w 9160850"/>
                    <a:gd name="connsiteY35" fmla="*/ 30238 h 3383038"/>
                    <a:gd name="connsiteX36" fmla="*/ 5301342 w 9160850"/>
                    <a:gd name="connsiteY36" fmla="*/ 106438 h 3383038"/>
                    <a:gd name="connsiteX37" fmla="*/ 4996542 w 9160850"/>
                    <a:gd name="connsiteY37" fmla="*/ 160866 h 3383038"/>
                    <a:gd name="connsiteX38" fmla="*/ 5029200 w 9160850"/>
                    <a:gd name="connsiteY38" fmla="*/ 302381 h 3383038"/>
                    <a:gd name="connsiteX39" fmla="*/ 5431971 w 9160850"/>
                    <a:gd name="connsiteY39" fmla="*/ 433009 h 3383038"/>
                    <a:gd name="connsiteX40" fmla="*/ 5932714 w 9160850"/>
                    <a:gd name="connsiteY40" fmla="*/ 530981 h 3383038"/>
                    <a:gd name="connsiteX41" fmla="*/ 6444342 w 9160850"/>
                    <a:gd name="connsiteY41" fmla="*/ 618066 h 3383038"/>
                    <a:gd name="connsiteX42" fmla="*/ 6683828 w 9160850"/>
                    <a:gd name="connsiteY42" fmla="*/ 683381 h 3383038"/>
                    <a:gd name="connsiteX43" fmla="*/ 6574971 w 9160850"/>
                    <a:gd name="connsiteY43" fmla="*/ 770466 h 3383038"/>
                    <a:gd name="connsiteX44" fmla="*/ 5845628 w 9160850"/>
                    <a:gd name="connsiteY44" fmla="*/ 846666 h 3383038"/>
                    <a:gd name="connsiteX45" fmla="*/ 4942114 w 9160850"/>
                    <a:gd name="connsiteY45" fmla="*/ 933752 h 3383038"/>
                    <a:gd name="connsiteX46" fmla="*/ 4245428 w 9160850"/>
                    <a:gd name="connsiteY46" fmla="*/ 955523 h 3383038"/>
                    <a:gd name="connsiteX47" fmla="*/ 3374571 w 9160850"/>
                    <a:gd name="connsiteY47" fmla="*/ 1064381 h 3383038"/>
                    <a:gd name="connsiteX48" fmla="*/ 3265714 w 9160850"/>
                    <a:gd name="connsiteY48" fmla="*/ 1129695 h 3383038"/>
                    <a:gd name="connsiteX49" fmla="*/ 3265714 w 9160850"/>
                    <a:gd name="connsiteY49" fmla="*/ 1271209 h 3383038"/>
                    <a:gd name="connsiteX50" fmla="*/ 3614057 w 9160850"/>
                    <a:gd name="connsiteY50" fmla="*/ 1380066 h 3383038"/>
                    <a:gd name="connsiteX51" fmla="*/ 4604657 w 9160850"/>
                    <a:gd name="connsiteY51" fmla="*/ 1597781 h 3383038"/>
                    <a:gd name="connsiteX52" fmla="*/ 5529942 w 9160850"/>
                    <a:gd name="connsiteY52" fmla="*/ 1826381 h 3383038"/>
                    <a:gd name="connsiteX53" fmla="*/ 5867400 w 9160850"/>
                    <a:gd name="connsiteY53" fmla="*/ 1957009 h 3383038"/>
                    <a:gd name="connsiteX54" fmla="*/ 5998028 w 9160850"/>
                    <a:gd name="connsiteY54" fmla="*/ 2076752 h 3383038"/>
                    <a:gd name="connsiteX55" fmla="*/ 5780314 w 9160850"/>
                    <a:gd name="connsiteY55" fmla="*/ 2163838 h 3383038"/>
                    <a:gd name="connsiteX56" fmla="*/ 5236028 w 9160850"/>
                    <a:gd name="connsiteY56" fmla="*/ 2272695 h 3383038"/>
                    <a:gd name="connsiteX57" fmla="*/ 4147457 w 9160850"/>
                    <a:gd name="connsiteY57" fmla="*/ 2370666 h 3383038"/>
                    <a:gd name="connsiteX58" fmla="*/ 3113314 w 9160850"/>
                    <a:gd name="connsiteY58" fmla="*/ 2403323 h 3383038"/>
                    <a:gd name="connsiteX59" fmla="*/ 1915885 w 9160850"/>
                    <a:gd name="connsiteY59" fmla="*/ 2435981 h 3383038"/>
                    <a:gd name="connsiteX60" fmla="*/ 631371 w 9160850"/>
                    <a:gd name="connsiteY60" fmla="*/ 2457752 h 3383038"/>
                    <a:gd name="connsiteX61" fmla="*/ 239485 w 9160850"/>
                    <a:gd name="connsiteY61" fmla="*/ 2479523 h 3383038"/>
                    <a:gd name="connsiteX62" fmla="*/ 32657 w 9160850"/>
                    <a:gd name="connsiteY62" fmla="*/ 2457752 h 3383038"/>
                    <a:gd name="connsiteX63" fmla="*/ 32657 w 9160850"/>
                    <a:gd name="connsiteY63" fmla="*/ 2708123 h 3383038"/>
                    <a:gd name="connsiteX64" fmla="*/ 21771 w 9160850"/>
                    <a:gd name="connsiteY64" fmla="*/ 3121781 h 3383038"/>
                    <a:gd name="connsiteX65" fmla="*/ 0 w 9160850"/>
                    <a:gd name="connsiteY65"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22770 w 9160850"/>
                    <a:gd name="connsiteY20" fmla="*/ 944638 h 3383038"/>
                    <a:gd name="connsiteX21" fmla="*/ 7761514 w 9160850"/>
                    <a:gd name="connsiteY21" fmla="*/ 661609 h 3383038"/>
                    <a:gd name="connsiteX22" fmla="*/ 7173685 w 9160850"/>
                    <a:gd name="connsiteY22" fmla="*/ 530981 h 3383038"/>
                    <a:gd name="connsiteX23" fmla="*/ 6466114 w 9160850"/>
                    <a:gd name="connsiteY23" fmla="*/ 400352 h 3383038"/>
                    <a:gd name="connsiteX24" fmla="*/ 5987142 w 9160850"/>
                    <a:gd name="connsiteY24" fmla="*/ 302381 h 3383038"/>
                    <a:gd name="connsiteX25" fmla="*/ 5976257 w 9160850"/>
                    <a:gd name="connsiteY25" fmla="*/ 258838 h 3383038"/>
                    <a:gd name="connsiteX26" fmla="*/ 6607628 w 9160850"/>
                    <a:gd name="connsiteY26" fmla="*/ 269723 h 3383038"/>
                    <a:gd name="connsiteX27" fmla="*/ 8447314 w 9160850"/>
                    <a:gd name="connsiteY27" fmla="*/ 302381 h 3383038"/>
                    <a:gd name="connsiteX28" fmla="*/ 9035142 w 9160850"/>
                    <a:gd name="connsiteY28" fmla="*/ 302381 h 3383038"/>
                    <a:gd name="connsiteX29" fmla="*/ 9154885 w 9160850"/>
                    <a:gd name="connsiteY29" fmla="*/ 280609 h 3383038"/>
                    <a:gd name="connsiteX30" fmla="*/ 9144000 w 9160850"/>
                    <a:gd name="connsiteY30" fmla="*/ 19352 h 3383038"/>
                    <a:gd name="connsiteX31" fmla="*/ 9154885 w 9160850"/>
                    <a:gd name="connsiteY31" fmla="*/ 19352 h 3383038"/>
                    <a:gd name="connsiteX32" fmla="*/ 8414657 w 9160850"/>
                    <a:gd name="connsiteY32" fmla="*/ 8466 h 3383038"/>
                    <a:gd name="connsiteX33" fmla="*/ 7783285 w 9160850"/>
                    <a:gd name="connsiteY33" fmla="*/ 8466 h 3383038"/>
                    <a:gd name="connsiteX34" fmla="*/ 6814457 w 9160850"/>
                    <a:gd name="connsiteY34" fmla="*/ 19352 h 3383038"/>
                    <a:gd name="connsiteX35" fmla="*/ 5867400 w 9160850"/>
                    <a:gd name="connsiteY35" fmla="*/ 30238 h 3383038"/>
                    <a:gd name="connsiteX36" fmla="*/ 5301342 w 9160850"/>
                    <a:gd name="connsiteY36" fmla="*/ 106438 h 3383038"/>
                    <a:gd name="connsiteX37" fmla="*/ 4996542 w 9160850"/>
                    <a:gd name="connsiteY37" fmla="*/ 160866 h 3383038"/>
                    <a:gd name="connsiteX38" fmla="*/ 5029200 w 9160850"/>
                    <a:gd name="connsiteY38" fmla="*/ 302381 h 3383038"/>
                    <a:gd name="connsiteX39" fmla="*/ 5431971 w 9160850"/>
                    <a:gd name="connsiteY39" fmla="*/ 433009 h 3383038"/>
                    <a:gd name="connsiteX40" fmla="*/ 5932714 w 9160850"/>
                    <a:gd name="connsiteY40" fmla="*/ 530981 h 3383038"/>
                    <a:gd name="connsiteX41" fmla="*/ 6444342 w 9160850"/>
                    <a:gd name="connsiteY41" fmla="*/ 618066 h 3383038"/>
                    <a:gd name="connsiteX42" fmla="*/ 6683828 w 9160850"/>
                    <a:gd name="connsiteY42" fmla="*/ 683381 h 3383038"/>
                    <a:gd name="connsiteX43" fmla="*/ 6574971 w 9160850"/>
                    <a:gd name="connsiteY43" fmla="*/ 770466 h 3383038"/>
                    <a:gd name="connsiteX44" fmla="*/ 5845628 w 9160850"/>
                    <a:gd name="connsiteY44" fmla="*/ 846666 h 3383038"/>
                    <a:gd name="connsiteX45" fmla="*/ 4942114 w 9160850"/>
                    <a:gd name="connsiteY45" fmla="*/ 933752 h 3383038"/>
                    <a:gd name="connsiteX46" fmla="*/ 4245428 w 9160850"/>
                    <a:gd name="connsiteY46" fmla="*/ 955523 h 3383038"/>
                    <a:gd name="connsiteX47" fmla="*/ 3374571 w 9160850"/>
                    <a:gd name="connsiteY47" fmla="*/ 1064381 h 3383038"/>
                    <a:gd name="connsiteX48" fmla="*/ 3265714 w 9160850"/>
                    <a:gd name="connsiteY48" fmla="*/ 1129695 h 3383038"/>
                    <a:gd name="connsiteX49" fmla="*/ 3265714 w 9160850"/>
                    <a:gd name="connsiteY49" fmla="*/ 1271209 h 3383038"/>
                    <a:gd name="connsiteX50" fmla="*/ 3614057 w 9160850"/>
                    <a:gd name="connsiteY50" fmla="*/ 1380066 h 3383038"/>
                    <a:gd name="connsiteX51" fmla="*/ 4604657 w 9160850"/>
                    <a:gd name="connsiteY51" fmla="*/ 1597781 h 3383038"/>
                    <a:gd name="connsiteX52" fmla="*/ 5529942 w 9160850"/>
                    <a:gd name="connsiteY52" fmla="*/ 1826381 h 3383038"/>
                    <a:gd name="connsiteX53" fmla="*/ 5867400 w 9160850"/>
                    <a:gd name="connsiteY53" fmla="*/ 1957009 h 3383038"/>
                    <a:gd name="connsiteX54" fmla="*/ 5998028 w 9160850"/>
                    <a:gd name="connsiteY54" fmla="*/ 2076752 h 3383038"/>
                    <a:gd name="connsiteX55" fmla="*/ 5780314 w 9160850"/>
                    <a:gd name="connsiteY55" fmla="*/ 2163838 h 3383038"/>
                    <a:gd name="connsiteX56" fmla="*/ 5236028 w 9160850"/>
                    <a:gd name="connsiteY56" fmla="*/ 2272695 h 3383038"/>
                    <a:gd name="connsiteX57" fmla="*/ 4147457 w 9160850"/>
                    <a:gd name="connsiteY57" fmla="*/ 2370666 h 3383038"/>
                    <a:gd name="connsiteX58" fmla="*/ 3113314 w 9160850"/>
                    <a:gd name="connsiteY58" fmla="*/ 2403323 h 3383038"/>
                    <a:gd name="connsiteX59" fmla="*/ 1915885 w 9160850"/>
                    <a:gd name="connsiteY59" fmla="*/ 2435981 h 3383038"/>
                    <a:gd name="connsiteX60" fmla="*/ 631371 w 9160850"/>
                    <a:gd name="connsiteY60" fmla="*/ 2457752 h 3383038"/>
                    <a:gd name="connsiteX61" fmla="*/ 239485 w 9160850"/>
                    <a:gd name="connsiteY61" fmla="*/ 2479523 h 3383038"/>
                    <a:gd name="connsiteX62" fmla="*/ 32657 w 9160850"/>
                    <a:gd name="connsiteY62" fmla="*/ 2457752 h 3383038"/>
                    <a:gd name="connsiteX63" fmla="*/ 32657 w 9160850"/>
                    <a:gd name="connsiteY63" fmla="*/ 2708123 h 3383038"/>
                    <a:gd name="connsiteX64" fmla="*/ 21771 w 9160850"/>
                    <a:gd name="connsiteY64" fmla="*/ 3121781 h 3383038"/>
                    <a:gd name="connsiteX65" fmla="*/ 0 w 9160850"/>
                    <a:gd name="connsiteY65"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22770 w 9160850"/>
                    <a:gd name="connsiteY20" fmla="*/ 944638 h 3383038"/>
                    <a:gd name="connsiteX21" fmla="*/ 7761514 w 9160850"/>
                    <a:gd name="connsiteY21" fmla="*/ 661609 h 3383038"/>
                    <a:gd name="connsiteX22" fmla="*/ 6466114 w 9160850"/>
                    <a:gd name="connsiteY22" fmla="*/ 400352 h 3383038"/>
                    <a:gd name="connsiteX23" fmla="*/ 5987142 w 9160850"/>
                    <a:gd name="connsiteY23" fmla="*/ 302381 h 3383038"/>
                    <a:gd name="connsiteX24" fmla="*/ 5976257 w 9160850"/>
                    <a:gd name="connsiteY24" fmla="*/ 258838 h 3383038"/>
                    <a:gd name="connsiteX25" fmla="*/ 6607628 w 9160850"/>
                    <a:gd name="connsiteY25" fmla="*/ 269723 h 3383038"/>
                    <a:gd name="connsiteX26" fmla="*/ 8447314 w 9160850"/>
                    <a:gd name="connsiteY26" fmla="*/ 302381 h 3383038"/>
                    <a:gd name="connsiteX27" fmla="*/ 9035142 w 9160850"/>
                    <a:gd name="connsiteY27" fmla="*/ 302381 h 3383038"/>
                    <a:gd name="connsiteX28" fmla="*/ 9154885 w 9160850"/>
                    <a:gd name="connsiteY28" fmla="*/ 280609 h 3383038"/>
                    <a:gd name="connsiteX29" fmla="*/ 9144000 w 9160850"/>
                    <a:gd name="connsiteY29" fmla="*/ 19352 h 3383038"/>
                    <a:gd name="connsiteX30" fmla="*/ 9154885 w 9160850"/>
                    <a:gd name="connsiteY30" fmla="*/ 19352 h 3383038"/>
                    <a:gd name="connsiteX31" fmla="*/ 8414657 w 9160850"/>
                    <a:gd name="connsiteY31" fmla="*/ 8466 h 3383038"/>
                    <a:gd name="connsiteX32" fmla="*/ 7783285 w 9160850"/>
                    <a:gd name="connsiteY32" fmla="*/ 8466 h 3383038"/>
                    <a:gd name="connsiteX33" fmla="*/ 6814457 w 9160850"/>
                    <a:gd name="connsiteY33" fmla="*/ 19352 h 3383038"/>
                    <a:gd name="connsiteX34" fmla="*/ 5867400 w 9160850"/>
                    <a:gd name="connsiteY34" fmla="*/ 30238 h 3383038"/>
                    <a:gd name="connsiteX35" fmla="*/ 5301342 w 9160850"/>
                    <a:gd name="connsiteY35" fmla="*/ 106438 h 3383038"/>
                    <a:gd name="connsiteX36" fmla="*/ 4996542 w 9160850"/>
                    <a:gd name="connsiteY36" fmla="*/ 160866 h 3383038"/>
                    <a:gd name="connsiteX37" fmla="*/ 5029200 w 9160850"/>
                    <a:gd name="connsiteY37" fmla="*/ 302381 h 3383038"/>
                    <a:gd name="connsiteX38" fmla="*/ 5431971 w 9160850"/>
                    <a:gd name="connsiteY38" fmla="*/ 433009 h 3383038"/>
                    <a:gd name="connsiteX39" fmla="*/ 5932714 w 9160850"/>
                    <a:gd name="connsiteY39" fmla="*/ 530981 h 3383038"/>
                    <a:gd name="connsiteX40" fmla="*/ 6444342 w 9160850"/>
                    <a:gd name="connsiteY40" fmla="*/ 618066 h 3383038"/>
                    <a:gd name="connsiteX41" fmla="*/ 6683828 w 9160850"/>
                    <a:gd name="connsiteY41" fmla="*/ 683381 h 3383038"/>
                    <a:gd name="connsiteX42" fmla="*/ 6574971 w 9160850"/>
                    <a:gd name="connsiteY42" fmla="*/ 770466 h 3383038"/>
                    <a:gd name="connsiteX43" fmla="*/ 5845628 w 9160850"/>
                    <a:gd name="connsiteY43" fmla="*/ 846666 h 3383038"/>
                    <a:gd name="connsiteX44" fmla="*/ 4942114 w 9160850"/>
                    <a:gd name="connsiteY44" fmla="*/ 933752 h 3383038"/>
                    <a:gd name="connsiteX45" fmla="*/ 4245428 w 9160850"/>
                    <a:gd name="connsiteY45" fmla="*/ 955523 h 3383038"/>
                    <a:gd name="connsiteX46" fmla="*/ 3374571 w 9160850"/>
                    <a:gd name="connsiteY46" fmla="*/ 1064381 h 3383038"/>
                    <a:gd name="connsiteX47" fmla="*/ 3265714 w 9160850"/>
                    <a:gd name="connsiteY47" fmla="*/ 1129695 h 3383038"/>
                    <a:gd name="connsiteX48" fmla="*/ 3265714 w 9160850"/>
                    <a:gd name="connsiteY48" fmla="*/ 1271209 h 3383038"/>
                    <a:gd name="connsiteX49" fmla="*/ 3614057 w 9160850"/>
                    <a:gd name="connsiteY49" fmla="*/ 1380066 h 3383038"/>
                    <a:gd name="connsiteX50" fmla="*/ 4604657 w 9160850"/>
                    <a:gd name="connsiteY50" fmla="*/ 1597781 h 3383038"/>
                    <a:gd name="connsiteX51" fmla="*/ 5529942 w 9160850"/>
                    <a:gd name="connsiteY51" fmla="*/ 1826381 h 3383038"/>
                    <a:gd name="connsiteX52" fmla="*/ 5867400 w 9160850"/>
                    <a:gd name="connsiteY52" fmla="*/ 1957009 h 3383038"/>
                    <a:gd name="connsiteX53" fmla="*/ 5998028 w 9160850"/>
                    <a:gd name="connsiteY53" fmla="*/ 2076752 h 3383038"/>
                    <a:gd name="connsiteX54" fmla="*/ 5780314 w 9160850"/>
                    <a:gd name="connsiteY54" fmla="*/ 2163838 h 3383038"/>
                    <a:gd name="connsiteX55" fmla="*/ 5236028 w 9160850"/>
                    <a:gd name="connsiteY55" fmla="*/ 2272695 h 3383038"/>
                    <a:gd name="connsiteX56" fmla="*/ 4147457 w 9160850"/>
                    <a:gd name="connsiteY56" fmla="*/ 2370666 h 3383038"/>
                    <a:gd name="connsiteX57" fmla="*/ 3113314 w 9160850"/>
                    <a:gd name="connsiteY57" fmla="*/ 2403323 h 3383038"/>
                    <a:gd name="connsiteX58" fmla="*/ 1915885 w 9160850"/>
                    <a:gd name="connsiteY58" fmla="*/ 2435981 h 3383038"/>
                    <a:gd name="connsiteX59" fmla="*/ 631371 w 9160850"/>
                    <a:gd name="connsiteY59" fmla="*/ 2457752 h 3383038"/>
                    <a:gd name="connsiteX60" fmla="*/ 239485 w 9160850"/>
                    <a:gd name="connsiteY60" fmla="*/ 2479523 h 3383038"/>
                    <a:gd name="connsiteX61" fmla="*/ 32657 w 9160850"/>
                    <a:gd name="connsiteY61" fmla="*/ 2457752 h 3383038"/>
                    <a:gd name="connsiteX62" fmla="*/ 32657 w 9160850"/>
                    <a:gd name="connsiteY62" fmla="*/ 2708123 h 3383038"/>
                    <a:gd name="connsiteX63" fmla="*/ 21771 w 9160850"/>
                    <a:gd name="connsiteY63" fmla="*/ 3121781 h 3383038"/>
                    <a:gd name="connsiteX64" fmla="*/ 0 w 9160850"/>
                    <a:gd name="connsiteY64"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22770 w 9160850"/>
                    <a:gd name="connsiteY20" fmla="*/ 944638 h 3383038"/>
                    <a:gd name="connsiteX21" fmla="*/ 7761514 w 9160850"/>
                    <a:gd name="connsiteY21" fmla="*/ 661609 h 3383038"/>
                    <a:gd name="connsiteX22" fmla="*/ 6466114 w 9160850"/>
                    <a:gd name="connsiteY22" fmla="*/ 400352 h 3383038"/>
                    <a:gd name="connsiteX23" fmla="*/ 5987142 w 9160850"/>
                    <a:gd name="connsiteY23" fmla="*/ 302381 h 3383038"/>
                    <a:gd name="connsiteX24" fmla="*/ 5976257 w 9160850"/>
                    <a:gd name="connsiteY24" fmla="*/ 258838 h 3383038"/>
                    <a:gd name="connsiteX25" fmla="*/ 6607628 w 9160850"/>
                    <a:gd name="connsiteY25" fmla="*/ 269723 h 3383038"/>
                    <a:gd name="connsiteX26" fmla="*/ 8447314 w 9160850"/>
                    <a:gd name="connsiteY26" fmla="*/ 302381 h 3383038"/>
                    <a:gd name="connsiteX27" fmla="*/ 9035142 w 9160850"/>
                    <a:gd name="connsiteY27" fmla="*/ 302381 h 3383038"/>
                    <a:gd name="connsiteX28" fmla="*/ 9154885 w 9160850"/>
                    <a:gd name="connsiteY28" fmla="*/ 280609 h 3383038"/>
                    <a:gd name="connsiteX29" fmla="*/ 9144000 w 9160850"/>
                    <a:gd name="connsiteY29" fmla="*/ 19352 h 3383038"/>
                    <a:gd name="connsiteX30" fmla="*/ 9154885 w 9160850"/>
                    <a:gd name="connsiteY30" fmla="*/ 19352 h 3383038"/>
                    <a:gd name="connsiteX31" fmla="*/ 8414657 w 9160850"/>
                    <a:gd name="connsiteY31" fmla="*/ 8466 h 3383038"/>
                    <a:gd name="connsiteX32" fmla="*/ 7783285 w 9160850"/>
                    <a:gd name="connsiteY32" fmla="*/ 8466 h 3383038"/>
                    <a:gd name="connsiteX33" fmla="*/ 6814457 w 9160850"/>
                    <a:gd name="connsiteY33" fmla="*/ 19352 h 3383038"/>
                    <a:gd name="connsiteX34" fmla="*/ 5867400 w 9160850"/>
                    <a:gd name="connsiteY34" fmla="*/ 30238 h 3383038"/>
                    <a:gd name="connsiteX35" fmla="*/ 4996542 w 9160850"/>
                    <a:gd name="connsiteY35" fmla="*/ 160866 h 3383038"/>
                    <a:gd name="connsiteX36" fmla="*/ 5029200 w 9160850"/>
                    <a:gd name="connsiteY36" fmla="*/ 302381 h 3383038"/>
                    <a:gd name="connsiteX37" fmla="*/ 5431971 w 9160850"/>
                    <a:gd name="connsiteY37" fmla="*/ 433009 h 3383038"/>
                    <a:gd name="connsiteX38" fmla="*/ 5932714 w 9160850"/>
                    <a:gd name="connsiteY38" fmla="*/ 530981 h 3383038"/>
                    <a:gd name="connsiteX39" fmla="*/ 6444342 w 9160850"/>
                    <a:gd name="connsiteY39" fmla="*/ 618066 h 3383038"/>
                    <a:gd name="connsiteX40" fmla="*/ 6683828 w 9160850"/>
                    <a:gd name="connsiteY40" fmla="*/ 683381 h 3383038"/>
                    <a:gd name="connsiteX41" fmla="*/ 6574971 w 9160850"/>
                    <a:gd name="connsiteY41" fmla="*/ 770466 h 3383038"/>
                    <a:gd name="connsiteX42" fmla="*/ 5845628 w 9160850"/>
                    <a:gd name="connsiteY42" fmla="*/ 846666 h 3383038"/>
                    <a:gd name="connsiteX43" fmla="*/ 4942114 w 9160850"/>
                    <a:gd name="connsiteY43" fmla="*/ 933752 h 3383038"/>
                    <a:gd name="connsiteX44" fmla="*/ 4245428 w 9160850"/>
                    <a:gd name="connsiteY44" fmla="*/ 955523 h 3383038"/>
                    <a:gd name="connsiteX45" fmla="*/ 3374571 w 9160850"/>
                    <a:gd name="connsiteY45" fmla="*/ 1064381 h 3383038"/>
                    <a:gd name="connsiteX46" fmla="*/ 3265714 w 9160850"/>
                    <a:gd name="connsiteY46" fmla="*/ 1129695 h 3383038"/>
                    <a:gd name="connsiteX47" fmla="*/ 3265714 w 9160850"/>
                    <a:gd name="connsiteY47" fmla="*/ 1271209 h 3383038"/>
                    <a:gd name="connsiteX48" fmla="*/ 3614057 w 9160850"/>
                    <a:gd name="connsiteY48" fmla="*/ 1380066 h 3383038"/>
                    <a:gd name="connsiteX49" fmla="*/ 4604657 w 9160850"/>
                    <a:gd name="connsiteY49" fmla="*/ 1597781 h 3383038"/>
                    <a:gd name="connsiteX50" fmla="*/ 5529942 w 9160850"/>
                    <a:gd name="connsiteY50" fmla="*/ 1826381 h 3383038"/>
                    <a:gd name="connsiteX51" fmla="*/ 5867400 w 9160850"/>
                    <a:gd name="connsiteY51" fmla="*/ 1957009 h 3383038"/>
                    <a:gd name="connsiteX52" fmla="*/ 5998028 w 9160850"/>
                    <a:gd name="connsiteY52" fmla="*/ 2076752 h 3383038"/>
                    <a:gd name="connsiteX53" fmla="*/ 5780314 w 9160850"/>
                    <a:gd name="connsiteY53" fmla="*/ 2163838 h 3383038"/>
                    <a:gd name="connsiteX54" fmla="*/ 5236028 w 9160850"/>
                    <a:gd name="connsiteY54" fmla="*/ 2272695 h 3383038"/>
                    <a:gd name="connsiteX55" fmla="*/ 4147457 w 9160850"/>
                    <a:gd name="connsiteY55" fmla="*/ 2370666 h 3383038"/>
                    <a:gd name="connsiteX56" fmla="*/ 3113314 w 9160850"/>
                    <a:gd name="connsiteY56" fmla="*/ 2403323 h 3383038"/>
                    <a:gd name="connsiteX57" fmla="*/ 1915885 w 9160850"/>
                    <a:gd name="connsiteY57" fmla="*/ 2435981 h 3383038"/>
                    <a:gd name="connsiteX58" fmla="*/ 631371 w 9160850"/>
                    <a:gd name="connsiteY58" fmla="*/ 2457752 h 3383038"/>
                    <a:gd name="connsiteX59" fmla="*/ 239485 w 9160850"/>
                    <a:gd name="connsiteY59" fmla="*/ 2479523 h 3383038"/>
                    <a:gd name="connsiteX60" fmla="*/ 32657 w 9160850"/>
                    <a:gd name="connsiteY60" fmla="*/ 2457752 h 3383038"/>
                    <a:gd name="connsiteX61" fmla="*/ 32657 w 9160850"/>
                    <a:gd name="connsiteY61" fmla="*/ 2708123 h 3383038"/>
                    <a:gd name="connsiteX62" fmla="*/ 21771 w 9160850"/>
                    <a:gd name="connsiteY62" fmla="*/ 3121781 h 3383038"/>
                    <a:gd name="connsiteX63" fmla="*/ 0 w 9160850"/>
                    <a:gd name="connsiteY63"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22770 w 9160850"/>
                    <a:gd name="connsiteY20" fmla="*/ 944638 h 3383038"/>
                    <a:gd name="connsiteX21" fmla="*/ 7761514 w 9160850"/>
                    <a:gd name="connsiteY21" fmla="*/ 661609 h 3383038"/>
                    <a:gd name="connsiteX22" fmla="*/ 6466114 w 9160850"/>
                    <a:gd name="connsiteY22" fmla="*/ 400352 h 3383038"/>
                    <a:gd name="connsiteX23" fmla="*/ 5987142 w 9160850"/>
                    <a:gd name="connsiteY23" fmla="*/ 302381 h 3383038"/>
                    <a:gd name="connsiteX24" fmla="*/ 5976257 w 9160850"/>
                    <a:gd name="connsiteY24" fmla="*/ 258838 h 3383038"/>
                    <a:gd name="connsiteX25" fmla="*/ 6607628 w 9160850"/>
                    <a:gd name="connsiteY25" fmla="*/ 269723 h 3383038"/>
                    <a:gd name="connsiteX26" fmla="*/ 8447314 w 9160850"/>
                    <a:gd name="connsiteY26" fmla="*/ 302381 h 3383038"/>
                    <a:gd name="connsiteX27" fmla="*/ 9035142 w 9160850"/>
                    <a:gd name="connsiteY27" fmla="*/ 302381 h 3383038"/>
                    <a:gd name="connsiteX28" fmla="*/ 9154885 w 9160850"/>
                    <a:gd name="connsiteY28" fmla="*/ 280609 h 3383038"/>
                    <a:gd name="connsiteX29" fmla="*/ 9144000 w 9160850"/>
                    <a:gd name="connsiteY29" fmla="*/ 19352 h 3383038"/>
                    <a:gd name="connsiteX30" fmla="*/ 9154885 w 9160850"/>
                    <a:gd name="connsiteY30" fmla="*/ 19352 h 3383038"/>
                    <a:gd name="connsiteX31" fmla="*/ 8414657 w 9160850"/>
                    <a:gd name="connsiteY31" fmla="*/ 8466 h 3383038"/>
                    <a:gd name="connsiteX32" fmla="*/ 7783285 w 9160850"/>
                    <a:gd name="connsiteY32" fmla="*/ 8466 h 3383038"/>
                    <a:gd name="connsiteX33" fmla="*/ 6814457 w 9160850"/>
                    <a:gd name="connsiteY33" fmla="*/ 19352 h 3383038"/>
                    <a:gd name="connsiteX34" fmla="*/ 5867400 w 9160850"/>
                    <a:gd name="connsiteY34" fmla="*/ 30238 h 3383038"/>
                    <a:gd name="connsiteX35" fmla="*/ 4996542 w 9160850"/>
                    <a:gd name="connsiteY35" fmla="*/ 160866 h 3383038"/>
                    <a:gd name="connsiteX36" fmla="*/ 5029200 w 9160850"/>
                    <a:gd name="connsiteY36" fmla="*/ 302381 h 3383038"/>
                    <a:gd name="connsiteX37" fmla="*/ 5932714 w 9160850"/>
                    <a:gd name="connsiteY37" fmla="*/ 530981 h 3383038"/>
                    <a:gd name="connsiteX38" fmla="*/ 6444342 w 9160850"/>
                    <a:gd name="connsiteY38" fmla="*/ 618066 h 3383038"/>
                    <a:gd name="connsiteX39" fmla="*/ 6683828 w 9160850"/>
                    <a:gd name="connsiteY39" fmla="*/ 683381 h 3383038"/>
                    <a:gd name="connsiteX40" fmla="*/ 6574971 w 9160850"/>
                    <a:gd name="connsiteY40" fmla="*/ 770466 h 3383038"/>
                    <a:gd name="connsiteX41" fmla="*/ 5845628 w 9160850"/>
                    <a:gd name="connsiteY41" fmla="*/ 846666 h 3383038"/>
                    <a:gd name="connsiteX42" fmla="*/ 4942114 w 9160850"/>
                    <a:gd name="connsiteY42" fmla="*/ 933752 h 3383038"/>
                    <a:gd name="connsiteX43" fmla="*/ 4245428 w 9160850"/>
                    <a:gd name="connsiteY43" fmla="*/ 955523 h 3383038"/>
                    <a:gd name="connsiteX44" fmla="*/ 3374571 w 9160850"/>
                    <a:gd name="connsiteY44" fmla="*/ 1064381 h 3383038"/>
                    <a:gd name="connsiteX45" fmla="*/ 3265714 w 9160850"/>
                    <a:gd name="connsiteY45" fmla="*/ 1129695 h 3383038"/>
                    <a:gd name="connsiteX46" fmla="*/ 3265714 w 9160850"/>
                    <a:gd name="connsiteY46" fmla="*/ 1271209 h 3383038"/>
                    <a:gd name="connsiteX47" fmla="*/ 3614057 w 9160850"/>
                    <a:gd name="connsiteY47" fmla="*/ 1380066 h 3383038"/>
                    <a:gd name="connsiteX48" fmla="*/ 4604657 w 9160850"/>
                    <a:gd name="connsiteY48" fmla="*/ 1597781 h 3383038"/>
                    <a:gd name="connsiteX49" fmla="*/ 5529942 w 9160850"/>
                    <a:gd name="connsiteY49" fmla="*/ 1826381 h 3383038"/>
                    <a:gd name="connsiteX50" fmla="*/ 5867400 w 9160850"/>
                    <a:gd name="connsiteY50" fmla="*/ 1957009 h 3383038"/>
                    <a:gd name="connsiteX51" fmla="*/ 5998028 w 9160850"/>
                    <a:gd name="connsiteY51" fmla="*/ 2076752 h 3383038"/>
                    <a:gd name="connsiteX52" fmla="*/ 5780314 w 9160850"/>
                    <a:gd name="connsiteY52" fmla="*/ 2163838 h 3383038"/>
                    <a:gd name="connsiteX53" fmla="*/ 5236028 w 9160850"/>
                    <a:gd name="connsiteY53" fmla="*/ 2272695 h 3383038"/>
                    <a:gd name="connsiteX54" fmla="*/ 4147457 w 9160850"/>
                    <a:gd name="connsiteY54" fmla="*/ 2370666 h 3383038"/>
                    <a:gd name="connsiteX55" fmla="*/ 3113314 w 9160850"/>
                    <a:gd name="connsiteY55" fmla="*/ 2403323 h 3383038"/>
                    <a:gd name="connsiteX56" fmla="*/ 1915885 w 9160850"/>
                    <a:gd name="connsiteY56" fmla="*/ 2435981 h 3383038"/>
                    <a:gd name="connsiteX57" fmla="*/ 631371 w 9160850"/>
                    <a:gd name="connsiteY57" fmla="*/ 2457752 h 3383038"/>
                    <a:gd name="connsiteX58" fmla="*/ 239485 w 9160850"/>
                    <a:gd name="connsiteY58" fmla="*/ 2479523 h 3383038"/>
                    <a:gd name="connsiteX59" fmla="*/ 32657 w 9160850"/>
                    <a:gd name="connsiteY59" fmla="*/ 2457752 h 3383038"/>
                    <a:gd name="connsiteX60" fmla="*/ 32657 w 9160850"/>
                    <a:gd name="connsiteY60" fmla="*/ 2708123 h 3383038"/>
                    <a:gd name="connsiteX61" fmla="*/ 21771 w 9160850"/>
                    <a:gd name="connsiteY61" fmla="*/ 3121781 h 3383038"/>
                    <a:gd name="connsiteX62" fmla="*/ 0 w 9160850"/>
                    <a:gd name="connsiteY62"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22770 w 9160850"/>
                    <a:gd name="connsiteY20" fmla="*/ 944638 h 3383038"/>
                    <a:gd name="connsiteX21" fmla="*/ 7761514 w 9160850"/>
                    <a:gd name="connsiteY21" fmla="*/ 661609 h 3383038"/>
                    <a:gd name="connsiteX22" fmla="*/ 6466114 w 9160850"/>
                    <a:gd name="connsiteY22" fmla="*/ 400352 h 3383038"/>
                    <a:gd name="connsiteX23" fmla="*/ 5987142 w 9160850"/>
                    <a:gd name="connsiteY23" fmla="*/ 302381 h 3383038"/>
                    <a:gd name="connsiteX24" fmla="*/ 5976257 w 9160850"/>
                    <a:gd name="connsiteY24" fmla="*/ 258838 h 3383038"/>
                    <a:gd name="connsiteX25" fmla="*/ 6607628 w 9160850"/>
                    <a:gd name="connsiteY25" fmla="*/ 269723 h 3383038"/>
                    <a:gd name="connsiteX26" fmla="*/ 8447314 w 9160850"/>
                    <a:gd name="connsiteY26" fmla="*/ 302381 h 3383038"/>
                    <a:gd name="connsiteX27" fmla="*/ 9035142 w 9160850"/>
                    <a:gd name="connsiteY27" fmla="*/ 302381 h 3383038"/>
                    <a:gd name="connsiteX28" fmla="*/ 9154885 w 9160850"/>
                    <a:gd name="connsiteY28" fmla="*/ 280609 h 3383038"/>
                    <a:gd name="connsiteX29" fmla="*/ 9144000 w 9160850"/>
                    <a:gd name="connsiteY29" fmla="*/ 19352 h 3383038"/>
                    <a:gd name="connsiteX30" fmla="*/ 9154885 w 9160850"/>
                    <a:gd name="connsiteY30" fmla="*/ 19352 h 3383038"/>
                    <a:gd name="connsiteX31" fmla="*/ 8414657 w 9160850"/>
                    <a:gd name="connsiteY31" fmla="*/ 8466 h 3383038"/>
                    <a:gd name="connsiteX32" fmla="*/ 7783285 w 9160850"/>
                    <a:gd name="connsiteY32" fmla="*/ 8466 h 3383038"/>
                    <a:gd name="connsiteX33" fmla="*/ 6814457 w 9160850"/>
                    <a:gd name="connsiteY33" fmla="*/ 19352 h 3383038"/>
                    <a:gd name="connsiteX34" fmla="*/ 5867400 w 9160850"/>
                    <a:gd name="connsiteY34" fmla="*/ 30238 h 3383038"/>
                    <a:gd name="connsiteX35" fmla="*/ 4996542 w 9160850"/>
                    <a:gd name="connsiteY35" fmla="*/ 160866 h 3383038"/>
                    <a:gd name="connsiteX36" fmla="*/ 5029200 w 9160850"/>
                    <a:gd name="connsiteY36" fmla="*/ 302381 h 3383038"/>
                    <a:gd name="connsiteX37" fmla="*/ 5932714 w 9160850"/>
                    <a:gd name="connsiteY37" fmla="*/ 530981 h 3383038"/>
                    <a:gd name="connsiteX38" fmla="*/ 6444342 w 9160850"/>
                    <a:gd name="connsiteY38" fmla="*/ 618066 h 3383038"/>
                    <a:gd name="connsiteX39" fmla="*/ 6683828 w 9160850"/>
                    <a:gd name="connsiteY39" fmla="*/ 683381 h 3383038"/>
                    <a:gd name="connsiteX40" fmla="*/ 6574971 w 9160850"/>
                    <a:gd name="connsiteY40" fmla="*/ 770466 h 3383038"/>
                    <a:gd name="connsiteX41" fmla="*/ 5845628 w 9160850"/>
                    <a:gd name="connsiteY41" fmla="*/ 846666 h 3383038"/>
                    <a:gd name="connsiteX42" fmla="*/ 4942114 w 9160850"/>
                    <a:gd name="connsiteY42" fmla="*/ 933752 h 3383038"/>
                    <a:gd name="connsiteX43" fmla="*/ 4245428 w 9160850"/>
                    <a:gd name="connsiteY43" fmla="*/ 955523 h 3383038"/>
                    <a:gd name="connsiteX44" fmla="*/ 3374571 w 9160850"/>
                    <a:gd name="connsiteY44" fmla="*/ 1064381 h 3383038"/>
                    <a:gd name="connsiteX45" fmla="*/ 3265714 w 9160850"/>
                    <a:gd name="connsiteY45" fmla="*/ 1129695 h 3383038"/>
                    <a:gd name="connsiteX46" fmla="*/ 3265714 w 9160850"/>
                    <a:gd name="connsiteY46" fmla="*/ 1271209 h 3383038"/>
                    <a:gd name="connsiteX47" fmla="*/ 3614057 w 9160850"/>
                    <a:gd name="connsiteY47" fmla="*/ 1380066 h 3383038"/>
                    <a:gd name="connsiteX48" fmla="*/ 4604657 w 9160850"/>
                    <a:gd name="connsiteY48" fmla="*/ 1597781 h 3383038"/>
                    <a:gd name="connsiteX49" fmla="*/ 5529942 w 9160850"/>
                    <a:gd name="connsiteY49" fmla="*/ 1826381 h 3383038"/>
                    <a:gd name="connsiteX50" fmla="*/ 5867400 w 9160850"/>
                    <a:gd name="connsiteY50" fmla="*/ 1957009 h 3383038"/>
                    <a:gd name="connsiteX51" fmla="*/ 5998028 w 9160850"/>
                    <a:gd name="connsiteY51" fmla="*/ 2076752 h 3383038"/>
                    <a:gd name="connsiteX52" fmla="*/ 5780314 w 9160850"/>
                    <a:gd name="connsiteY52" fmla="*/ 2163838 h 3383038"/>
                    <a:gd name="connsiteX53" fmla="*/ 5236028 w 9160850"/>
                    <a:gd name="connsiteY53" fmla="*/ 2272695 h 3383038"/>
                    <a:gd name="connsiteX54" fmla="*/ 4147457 w 9160850"/>
                    <a:gd name="connsiteY54" fmla="*/ 2370666 h 3383038"/>
                    <a:gd name="connsiteX55" fmla="*/ 3113314 w 9160850"/>
                    <a:gd name="connsiteY55" fmla="*/ 2403323 h 3383038"/>
                    <a:gd name="connsiteX56" fmla="*/ 1915885 w 9160850"/>
                    <a:gd name="connsiteY56" fmla="*/ 2435981 h 3383038"/>
                    <a:gd name="connsiteX57" fmla="*/ 631371 w 9160850"/>
                    <a:gd name="connsiteY57" fmla="*/ 2457752 h 3383038"/>
                    <a:gd name="connsiteX58" fmla="*/ 239485 w 9160850"/>
                    <a:gd name="connsiteY58" fmla="*/ 2479523 h 3383038"/>
                    <a:gd name="connsiteX59" fmla="*/ 32657 w 9160850"/>
                    <a:gd name="connsiteY59" fmla="*/ 2457752 h 3383038"/>
                    <a:gd name="connsiteX60" fmla="*/ 32657 w 9160850"/>
                    <a:gd name="connsiteY60" fmla="*/ 2708123 h 3383038"/>
                    <a:gd name="connsiteX61" fmla="*/ 21771 w 9160850"/>
                    <a:gd name="connsiteY61" fmla="*/ 3121781 h 3383038"/>
                    <a:gd name="connsiteX62" fmla="*/ 0 w 9160850"/>
                    <a:gd name="connsiteY62" fmla="*/ 3383038 h 3383038"/>
                    <a:gd name="connsiteX0" fmla="*/ 0 w 9160850"/>
                    <a:gd name="connsiteY0" fmla="*/ 3383038 h 3383038"/>
                    <a:gd name="connsiteX1" fmla="*/ 740228 w 9160850"/>
                    <a:gd name="connsiteY1" fmla="*/ 3372152 h 3383038"/>
                    <a:gd name="connsiteX2" fmla="*/ 2394857 w 9160850"/>
                    <a:gd name="connsiteY2" fmla="*/ 3328609 h 3383038"/>
                    <a:gd name="connsiteX3" fmla="*/ 3951514 w 9160850"/>
                    <a:gd name="connsiteY3" fmla="*/ 3241523 h 3383038"/>
                    <a:gd name="connsiteX4" fmla="*/ 5431971 w 9160850"/>
                    <a:gd name="connsiteY4" fmla="*/ 3110895 h 3383038"/>
                    <a:gd name="connsiteX5" fmla="*/ 6161314 w 9160850"/>
                    <a:gd name="connsiteY5" fmla="*/ 2980266 h 3383038"/>
                    <a:gd name="connsiteX6" fmla="*/ 6912428 w 9160850"/>
                    <a:gd name="connsiteY6" fmla="*/ 2827866 h 3383038"/>
                    <a:gd name="connsiteX7" fmla="*/ 7456714 w 9160850"/>
                    <a:gd name="connsiteY7" fmla="*/ 2588381 h 3383038"/>
                    <a:gd name="connsiteX8" fmla="*/ 7761514 w 9160850"/>
                    <a:gd name="connsiteY8" fmla="*/ 2327123 h 3383038"/>
                    <a:gd name="connsiteX9" fmla="*/ 7783285 w 9160850"/>
                    <a:gd name="connsiteY9" fmla="*/ 2098523 h 3383038"/>
                    <a:gd name="connsiteX10" fmla="*/ 7707085 w 9160850"/>
                    <a:gd name="connsiteY10" fmla="*/ 1946124 h 3383038"/>
                    <a:gd name="connsiteX11" fmla="*/ 7478485 w 9160850"/>
                    <a:gd name="connsiteY11" fmla="*/ 1815495 h 3383038"/>
                    <a:gd name="connsiteX12" fmla="*/ 7032171 w 9160850"/>
                    <a:gd name="connsiteY12" fmla="*/ 1695752 h 3383038"/>
                    <a:gd name="connsiteX13" fmla="*/ 6313714 w 9160850"/>
                    <a:gd name="connsiteY13" fmla="*/ 1554238 h 3383038"/>
                    <a:gd name="connsiteX14" fmla="*/ 5671457 w 9160850"/>
                    <a:gd name="connsiteY14" fmla="*/ 1434495 h 3383038"/>
                    <a:gd name="connsiteX15" fmla="*/ 5421085 w 9160850"/>
                    <a:gd name="connsiteY15" fmla="*/ 1380066 h 3383038"/>
                    <a:gd name="connsiteX16" fmla="*/ 5170714 w 9160850"/>
                    <a:gd name="connsiteY16" fmla="*/ 1314752 h 3383038"/>
                    <a:gd name="connsiteX17" fmla="*/ 5192485 w 9160850"/>
                    <a:gd name="connsiteY17" fmla="*/ 1282095 h 3383038"/>
                    <a:gd name="connsiteX18" fmla="*/ 5704114 w 9160850"/>
                    <a:gd name="connsiteY18" fmla="*/ 1216781 h 3383038"/>
                    <a:gd name="connsiteX19" fmla="*/ 6890657 w 9160850"/>
                    <a:gd name="connsiteY19" fmla="*/ 1118809 h 3383038"/>
                    <a:gd name="connsiteX20" fmla="*/ 8022770 w 9160850"/>
                    <a:gd name="connsiteY20" fmla="*/ 944638 h 3383038"/>
                    <a:gd name="connsiteX21" fmla="*/ 7761514 w 9160850"/>
                    <a:gd name="connsiteY21" fmla="*/ 661609 h 3383038"/>
                    <a:gd name="connsiteX22" fmla="*/ 6466114 w 9160850"/>
                    <a:gd name="connsiteY22" fmla="*/ 400352 h 3383038"/>
                    <a:gd name="connsiteX23" fmla="*/ 5987142 w 9160850"/>
                    <a:gd name="connsiteY23" fmla="*/ 302381 h 3383038"/>
                    <a:gd name="connsiteX24" fmla="*/ 5976257 w 9160850"/>
                    <a:gd name="connsiteY24" fmla="*/ 258838 h 3383038"/>
                    <a:gd name="connsiteX25" fmla="*/ 6607628 w 9160850"/>
                    <a:gd name="connsiteY25" fmla="*/ 269723 h 3383038"/>
                    <a:gd name="connsiteX26" fmla="*/ 8447314 w 9160850"/>
                    <a:gd name="connsiteY26" fmla="*/ 302381 h 3383038"/>
                    <a:gd name="connsiteX27" fmla="*/ 9035142 w 9160850"/>
                    <a:gd name="connsiteY27" fmla="*/ 302381 h 3383038"/>
                    <a:gd name="connsiteX28" fmla="*/ 9154885 w 9160850"/>
                    <a:gd name="connsiteY28" fmla="*/ 280609 h 3383038"/>
                    <a:gd name="connsiteX29" fmla="*/ 9144000 w 9160850"/>
                    <a:gd name="connsiteY29" fmla="*/ 19352 h 3383038"/>
                    <a:gd name="connsiteX30" fmla="*/ 9154885 w 9160850"/>
                    <a:gd name="connsiteY30" fmla="*/ 19352 h 3383038"/>
                    <a:gd name="connsiteX31" fmla="*/ 8414657 w 9160850"/>
                    <a:gd name="connsiteY31" fmla="*/ 8466 h 3383038"/>
                    <a:gd name="connsiteX32" fmla="*/ 7783285 w 9160850"/>
                    <a:gd name="connsiteY32" fmla="*/ 8466 h 3383038"/>
                    <a:gd name="connsiteX33" fmla="*/ 6814457 w 9160850"/>
                    <a:gd name="connsiteY33" fmla="*/ 19352 h 3383038"/>
                    <a:gd name="connsiteX34" fmla="*/ 5867400 w 9160850"/>
                    <a:gd name="connsiteY34" fmla="*/ 30238 h 3383038"/>
                    <a:gd name="connsiteX35" fmla="*/ 5072742 w 9160850"/>
                    <a:gd name="connsiteY35" fmla="*/ 62894 h 3383038"/>
                    <a:gd name="connsiteX36" fmla="*/ 5029200 w 9160850"/>
                    <a:gd name="connsiteY36" fmla="*/ 302381 h 3383038"/>
                    <a:gd name="connsiteX37" fmla="*/ 5932714 w 9160850"/>
                    <a:gd name="connsiteY37" fmla="*/ 530981 h 3383038"/>
                    <a:gd name="connsiteX38" fmla="*/ 6444342 w 9160850"/>
                    <a:gd name="connsiteY38" fmla="*/ 618066 h 3383038"/>
                    <a:gd name="connsiteX39" fmla="*/ 6683828 w 9160850"/>
                    <a:gd name="connsiteY39" fmla="*/ 683381 h 3383038"/>
                    <a:gd name="connsiteX40" fmla="*/ 6574971 w 9160850"/>
                    <a:gd name="connsiteY40" fmla="*/ 770466 h 3383038"/>
                    <a:gd name="connsiteX41" fmla="*/ 5845628 w 9160850"/>
                    <a:gd name="connsiteY41" fmla="*/ 846666 h 3383038"/>
                    <a:gd name="connsiteX42" fmla="*/ 4942114 w 9160850"/>
                    <a:gd name="connsiteY42" fmla="*/ 933752 h 3383038"/>
                    <a:gd name="connsiteX43" fmla="*/ 4245428 w 9160850"/>
                    <a:gd name="connsiteY43" fmla="*/ 955523 h 3383038"/>
                    <a:gd name="connsiteX44" fmla="*/ 3374571 w 9160850"/>
                    <a:gd name="connsiteY44" fmla="*/ 1064381 h 3383038"/>
                    <a:gd name="connsiteX45" fmla="*/ 3265714 w 9160850"/>
                    <a:gd name="connsiteY45" fmla="*/ 1129695 h 3383038"/>
                    <a:gd name="connsiteX46" fmla="*/ 3265714 w 9160850"/>
                    <a:gd name="connsiteY46" fmla="*/ 1271209 h 3383038"/>
                    <a:gd name="connsiteX47" fmla="*/ 3614057 w 9160850"/>
                    <a:gd name="connsiteY47" fmla="*/ 1380066 h 3383038"/>
                    <a:gd name="connsiteX48" fmla="*/ 4604657 w 9160850"/>
                    <a:gd name="connsiteY48" fmla="*/ 1597781 h 3383038"/>
                    <a:gd name="connsiteX49" fmla="*/ 5529942 w 9160850"/>
                    <a:gd name="connsiteY49" fmla="*/ 1826381 h 3383038"/>
                    <a:gd name="connsiteX50" fmla="*/ 5867400 w 9160850"/>
                    <a:gd name="connsiteY50" fmla="*/ 1957009 h 3383038"/>
                    <a:gd name="connsiteX51" fmla="*/ 5998028 w 9160850"/>
                    <a:gd name="connsiteY51" fmla="*/ 2076752 h 3383038"/>
                    <a:gd name="connsiteX52" fmla="*/ 5780314 w 9160850"/>
                    <a:gd name="connsiteY52" fmla="*/ 2163838 h 3383038"/>
                    <a:gd name="connsiteX53" fmla="*/ 5236028 w 9160850"/>
                    <a:gd name="connsiteY53" fmla="*/ 2272695 h 3383038"/>
                    <a:gd name="connsiteX54" fmla="*/ 4147457 w 9160850"/>
                    <a:gd name="connsiteY54" fmla="*/ 2370666 h 3383038"/>
                    <a:gd name="connsiteX55" fmla="*/ 3113314 w 9160850"/>
                    <a:gd name="connsiteY55" fmla="*/ 2403323 h 3383038"/>
                    <a:gd name="connsiteX56" fmla="*/ 1915885 w 9160850"/>
                    <a:gd name="connsiteY56" fmla="*/ 2435981 h 3383038"/>
                    <a:gd name="connsiteX57" fmla="*/ 631371 w 9160850"/>
                    <a:gd name="connsiteY57" fmla="*/ 2457752 h 3383038"/>
                    <a:gd name="connsiteX58" fmla="*/ 239485 w 9160850"/>
                    <a:gd name="connsiteY58" fmla="*/ 2479523 h 3383038"/>
                    <a:gd name="connsiteX59" fmla="*/ 32657 w 9160850"/>
                    <a:gd name="connsiteY59" fmla="*/ 2457752 h 3383038"/>
                    <a:gd name="connsiteX60" fmla="*/ 32657 w 9160850"/>
                    <a:gd name="connsiteY60" fmla="*/ 2708123 h 3383038"/>
                    <a:gd name="connsiteX61" fmla="*/ 21771 w 9160850"/>
                    <a:gd name="connsiteY61" fmla="*/ 3121781 h 3383038"/>
                    <a:gd name="connsiteX62" fmla="*/ 0 w 9160850"/>
                    <a:gd name="connsiteY62" fmla="*/ 3383038 h 3383038"/>
                    <a:gd name="connsiteX0" fmla="*/ 0 w 9203812"/>
                    <a:gd name="connsiteY0" fmla="*/ 3383038 h 3383038"/>
                    <a:gd name="connsiteX1" fmla="*/ 740228 w 9203812"/>
                    <a:gd name="connsiteY1" fmla="*/ 3372152 h 3383038"/>
                    <a:gd name="connsiteX2" fmla="*/ 2394857 w 9203812"/>
                    <a:gd name="connsiteY2" fmla="*/ 3328609 h 3383038"/>
                    <a:gd name="connsiteX3" fmla="*/ 3951514 w 9203812"/>
                    <a:gd name="connsiteY3" fmla="*/ 3241523 h 3383038"/>
                    <a:gd name="connsiteX4" fmla="*/ 5431971 w 9203812"/>
                    <a:gd name="connsiteY4" fmla="*/ 3110895 h 3383038"/>
                    <a:gd name="connsiteX5" fmla="*/ 6161314 w 9203812"/>
                    <a:gd name="connsiteY5" fmla="*/ 2980266 h 3383038"/>
                    <a:gd name="connsiteX6" fmla="*/ 6912428 w 9203812"/>
                    <a:gd name="connsiteY6" fmla="*/ 2827866 h 3383038"/>
                    <a:gd name="connsiteX7" fmla="*/ 7456714 w 9203812"/>
                    <a:gd name="connsiteY7" fmla="*/ 2588381 h 3383038"/>
                    <a:gd name="connsiteX8" fmla="*/ 7761514 w 9203812"/>
                    <a:gd name="connsiteY8" fmla="*/ 2327123 h 3383038"/>
                    <a:gd name="connsiteX9" fmla="*/ 7783285 w 9203812"/>
                    <a:gd name="connsiteY9" fmla="*/ 2098523 h 3383038"/>
                    <a:gd name="connsiteX10" fmla="*/ 7707085 w 9203812"/>
                    <a:gd name="connsiteY10" fmla="*/ 1946124 h 3383038"/>
                    <a:gd name="connsiteX11" fmla="*/ 7478485 w 9203812"/>
                    <a:gd name="connsiteY11" fmla="*/ 1815495 h 3383038"/>
                    <a:gd name="connsiteX12" fmla="*/ 7032171 w 9203812"/>
                    <a:gd name="connsiteY12" fmla="*/ 1695752 h 3383038"/>
                    <a:gd name="connsiteX13" fmla="*/ 6313714 w 9203812"/>
                    <a:gd name="connsiteY13" fmla="*/ 1554238 h 3383038"/>
                    <a:gd name="connsiteX14" fmla="*/ 5671457 w 9203812"/>
                    <a:gd name="connsiteY14" fmla="*/ 1434495 h 3383038"/>
                    <a:gd name="connsiteX15" fmla="*/ 5421085 w 9203812"/>
                    <a:gd name="connsiteY15" fmla="*/ 1380066 h 3383038"/>
                    <a:gd name="connsiteX16" fmla="*/ 5170714 w 9203812"/>
                    <a:gd name="connsiteY16" fmla="*/ 1314752 h 3383038"/>
                    <a:gd name="connsiteX17" fmla="*/ 5192485 w 9203812"/>
                    <a:gd name="connsiteY17" fmla="*/ 1282095 h 3383038"/>
                    <a:gd name="connsiteX18" fmla="*/ 5704114 w 9203812"/>
                    <a:gd name="connsiteY18" fmla="*/ 1216781 h 3383038"/>
                    <a:gd name="connsiteX19" fmla="*/ 6890657 w 9203812"/>
                    <a:gd name="connsiteY19" fmla="*/ 1118809 h 3383038"/>
                    <a:gd name="connsiteX20" fmla="*/ 8022770 w 9203812"/>
                    <a:gd name="connsiteY20" fmla="*/ 944638 h 3383038"/>
                    <a:gd name="connsiteX21" fmla="*/ 7761514 w 9203812"/>
                    <a:gd name="connsiteY21" fmla="*/ 661609 h 3383038"/>
                    <a:gd name="connsiteX22" fmla="*/ 6466114 w 9203812"/>
                    <a:gd name="connsiteY22" fmla="*/ 400352 h 3383038"/>
                    <a:gd name="connsiteX23" fmla="*/ 5987142 w 9203812"/>
                    <a:gd name="connsiteY23" fmla="*/ 302381 h 3383038"/>
                    <a:gd name="connsiteX24" fmla="*/ 5976257 w 9203812"/>
                    <a:gd name="connsiteY24" fmla="*/ 258838 h 3383038"/>
                    <a:gd name="connsiteX25" fmla="*/ 6607628 w 9203812"/>
                    <a:gd name="connsiteY25" fmla="*/ 269723 h 3383038"/>
                    <a:gd name="connsiteX26" fmla="*/ 8447314 w 9203812"/>
                    <a:gd name="connsiteY26" fmla="*/ 302381 h 3383038"/>
                    <a:gd name="connsiteX27" fmla="*/ 9154885 w 9203812"/>
                    <a:gd name="connsiteY27" fmla="*/ 280609 h 3383038"/>
                    <a:gd name="connsiteX28" fmla="*/ 9144000 w 9203812"/>
                    <a:gd name="connsiteY28" fmla="*/ 19352 h 3383038"/>
                    <a:gd name="connsiteX29" fmla="*/ 9154885 w 9203812"/>
                    <a:gd name="connsiteY29" fmla="*/ 19352 h 3383038"/>
                    <a:gd name="connsiteX30" fmla="*/ 8414657 w 9203812"/>
                    <a:gd name="connsiteY30" fmla="*/ 8466 h 3383038"/>
                    <a:gd name="connsiteX31" fmla="*/ 7783285 w 9203812"/>
                    <a:gd name="connsiteY31" fmla="*/ 8466 h 3383038"/>
                    <a:gd name="connsiteX32" fmla="*/ 6814457 w 9203812"/>
                    <a:gd name="connsiteY32" fmla="*/ 19352 h 3383038"/>
                    <a:gd name="connsiteX33" fmla="*/ 5867400 w 9203812"/>
                    <a:gd name="connsiteY33" fmla="*/ 30238 h 3383038"/>
                    <a:gd name="connsiteX34" fmla="*/ 5072742 w 9203812"/>
                    <a:gd name="connsiteY34" fmla="*/ 62894 h 3383038"/>
                    <a:gd name="connsiteX35" fmla="*/ 5029200 w 9203812"/>
                    <a:gd name="connsiteY35" fmla="*/ 302381 h 3383038"/>
                    <a:gd name="connsiteX36" fmla="*/ 5932714 w 9203812"/>
                    <a:gd name="connsiteY36" fmla="*/ 530981 h 3383038"/>
                    <a:gd name="connsiteX37" fmla="*/ 6444342 w 9203812"/>
                    <a:gd name="connsiteY37" fmla="*/ 618066 h 3383038"/>
                    <a:gd name="connsiteX38" fmla="*/ 6683828 w 9203812"/>
                    <a:gd name="connsiteY38" fmla="*/ 683381 h 3383038"/>
                    <a:gd name="connsiteX39" fmla="*/ 6574971 w 9203812"/>
                    <a:gd name="connsiteY39" fmla="*/ 770466 h 3383038"/>
                    <a:gd name="connsiteX40" fmla="*/ 5845628 w 9203812"/>
                    <a:gd name="connsiteY40" fmla="*/ 846666 h 3383038"/>
                    <a:gd name="connsiteX41" fmla="*/ 4942114 w 9203812"/>
                    <a:gd name="connsiteY41" fmla="*/ 933752 h 3383038"/>
                    <a:gd name="connsiteX42" fmla="*/ 4245428 w 9203812"/>
                    <a:gd name="connsiteY42" fmla="*/ 955523 h 3383038"/>
                    <a:gd name="connsiteX43" fmla="*/ 3374571 w 9203812"/>
                    <a:gd name="connsiteY43" fmla="*/ 1064381 h 3383038"/>
                    <a:gd name="connsiteX44" fmla="*/ 3265714 w 9203812"/>
                    <a:gd name="connsiteY44" fmla="*/ 1129695 h 3383038"/>
                    <a:gd name="connsiteX45" fmla="*/ 3265714 w 9203812"/>
                    <a:gd name="connsiteY45" fmla="*/ 1271209 h 3383038"/>
                    <a:gd name="connsiteX46" fmla="*/ 3614057 w 9203812"/>
                    <a:gd name="connsiteY46" fmla="*/ 1380066 h 3383038"/>
                    <a:gd name="connsiteX47" fmla="*/ 4604657 w 9203812"/>
                    <a:gd name="connsiteY47" fmla="*/ 1597781 h 3383038"/>
                    <a:gd name="connsiteX48" fmla="*/ 5529942 w 9203812"/>
                    <a:gd name="connsiteY48" fmla="*/ 1826381 h 3383038"/>
                    <a:gd name="connsiteX49" fmla="*/ 5867400 w 9203812"/>
                    <a:gd name="connsiteY49" fmla="*/ 1957009 h 3383038"/>
                    <a:gd name="connsiteX50" fmla="*/ 5998028 w 9203812"/>
                    <a:gd name="connsiteY50" fmla="*/ 2076752 h 3383038"/>
                    <a:gd name="connsiteX51" fmla="*/ 5780314 w 9203812"/>
                    <a:gd name="connsiteY51" fmla="*/ 2163838 h 3383038"/>
                    <a:gd name="connsiteX52" fmla="*/ 5236028 w 9203812"/>
                    <a:gd name="connsiteY52" fmla="*/ 2272695 h 3383038"/>
                    <a:gd name="connsiteX53" fmla="*/ 4147457 w 9203812"/>
                    <a:gd name="connsiteY53" fmla="*/ 2370666 h 3383038"/>
                    <a:gd name="connsiteX54" fmla="*/ 3113314 w 9203812"/>
                    <a:gd name="connsiteY54" fmla="*/ 2403323 h 3383038"/>
                    <a:gd name="connsiteX55" fmla="*/ 1915885 w 9203812"/>
                    <a:gd name="connsiteY55" fmla="*/ 2435981 h 3383038"/>
                    <a:gd name="connsiteX56" fmla="*/ 631371 w 9203812"/>
                    <a:gd name="connsiteY56" fmla="*/ 2457752 h 3383038"/>
                    <a:gd name="connsiteX57" fmla="*/ 239485 w 9203812"/>
                    <a:gd name="connsiteY57" fmla="*/ 2479523 h 3383038"/>
                    <a:gd name="connsiteX58" fmla="*/ 32657 w 9203812"/>
                    <a:gd name="connsiteY58" fmla="*/ 2457752 h 3383038"/>
                    <a:gd name="connsiteX59" fmla="*/ 32657 w 9203812"/>
                    <a:gd name="connsiteY59" fmla="*/ 2708123 h 3383038"/>
                    <a:gd name="connsiteX60" fmla="*/ 21771 w 9203812"/>
                    <a:gd name="connsiteY60" fmla="*/ 3121781 h 3383038"/>
                    <a:gd name="connsiteX61" fmla="*/ 0 w 9203812"/>
                    <a:gd name="connsiteY61" fmla="*/ 3383038 h 3383038"/>
                    <a:gd name="connsiteX0" fmla="*/ 0 w 9203812"/>
                    <a:gd name="connsiteY0" fmla="*/ 3383038 h 3383038"/>
                    <a:gd name="connsiteX1" fmla="*/ 740228 w 9203812"/>
                    <a:gd name="connsiteY1" fmla="*/ 3372152 h 3383038"/>
                    <a:gd name="connsiteX2" fmla="*/ 2394857 w 9203812"/>
                    <a:gd name="connsiteY2" fmla="*/ 3328609 h 3383038"/>
                    <a:gd name="connsiteX3" fmla="*/ 3951514 w 9203812"/>
                    <a:gd name="connsiteY3" fmla="*/ 3241523 h 3383038"/>
                    <a:gd name="connsiteX4" fmla="*/ 5431971 w 9203812"/>
                    <a:gd name="connsiteY4" fmla="*/ 3110895 h 3383038"/>
                    <a:gd name="connsiteX5" fmla="*/ 6161314 w 9203812"/>
                    <a:gd name="connsiteY5" fmla="*/ 2980266 h 3383038"/>
                    <a:gd name="connsiteX6" fmla="*/ 6912428 w 9203812"/>
                    <a:gd name="connsiteY6" fmla="*/ 2827866 h 3383038"/>
                    <a:gd name="connsiteX7" fmla="*/ 7456714 w 9203812"/>
                    <a:gd name="connsiteY7" fmla="*/ 2588381 h 3383038"/>
                    <a:gd name="connsiteX8" fmla="*/ 7761514 w 9203812"/>
                    <a:gd name="connsiteY8" fmla="*/ 2327123 h 3383038"/>
                    <a:gd name="connsiteX9" fmla="*/ 7783285 w 9203812"/>
                    <a:gd name="connsiteY9" fmla="*/ 2098523 h 3383038"/>
                    <a:gd name="connsiteX10" fmla="*/ 7707085 w 9203812"/>
                    <a:gd name="connsiteY10" fmla="*/ 1946124 h 3383038"/>
                    <a:gd name="connsiteX11" fmla="*/ 7478485 w 9203812"/>
                    <a:gd name="connsiteY11" fmla="*/ 1815495 h 3383038"/>
                    <a:gd name="connsiteX12" fmla="*/ 7032171 w 9203812"/>
                    <a:gd name="connsiteY12" fmla="*/ 1695752 h 3383038"/>
                    <a:gd name="connsiteX13" fmla="*/ 6313714 w 9203812"/>
                    <a:gd name="connsiteY13" fmla="*/ 1554238 h 3383038"/>
                    <a:gd name="connsiteX14" fmla="*/ 5671457 w 9203812"/>
                    <a:gd name="connsiteY14" fmla="*/ 1434495 h 3383038"/>
                    <a:gd name="connsiteX15" fmla="*/ 5421085 w 9203812"/>
                    <a:gd name="connsiteY15" fmla="*/ 1380066 h 3383038"/>
                    <a:gd name="connsiteX16" fmla="*/ 5170714 w 9203812"/>
                    <a:gd name="connsiteY16" fmla="*/ 1314752 h 3383038"/>
                    <a:gd name="connsiteX17" fmla="*/ 5192485 w 9203812"/>
                    <a:gd name="connsiteY17" fmla="*/ 1282095 h 3383038"/>
                    <a:gd name="connsiteX18" fmla="*/ 5704114 w 9203812"/>
                    <a:gd name="connsiteY18" fmla="*/ 1216781 h 3383038"/>
                    <a:gd name="connsiteX19" fmla="*/ 6890657 w 9203812"/>
                    <a:gd name="connsiteY19" fmla="*/ 1118809 h 3383038"/>
                    <a:gd name="connsiteX20" fmla="*/ 8022770 w 9203812"/>
                    <a:gd name="connsiteY20" fmla="*/ 944638 h 3383038"/>
                    <a:gd name="connsiteX21" fmla="*/ 7761514 w 9203812"/>
                    <a:gd name="connsiteY21" fmla="*/ 661609 h 3383038"/>
                    <a:gd name="connsiteX22" fmla="*/ 6466114 w 9203812"/>
                    <a:gd name="connsiteY22" fmla="*/ 400352 h 3383038"/>
                    <a:gd name="connsiteX23" fmla="*/ 5987142 w 9203812"/>
                    <a:gd name="connsiteY23" fmla="*/ 302381 h 3383038"/>
                    <a:gd name="connsiteX24" fmla="*/ 5976257 w 9203812"/>
                    <a:gd name="connsiteY24" fmla="*/ 258838 h 3383038"/>
                    <a:gd name="connsiteX25" fmla="*/ 6607628 w 9203812"/>
                    <a:gd name="connsiteY25" fmla="*/ 269723 h 3383038"/>
                    <a:gd name="connsiteX26" fmla="*/ 8447314 w 9203812"/>
                    <a:gd name="connsiteY26" fmla="*/ 302381 h 3383038"/>
                    <a:gd name="connsiteX27" fmla="*/ 9154885 w 9203812"/>
                    <a:gd name="connsiteY27" fmla="*/ 280609 h 3383038"/>
                    <a:gd name="connsiteX28" fmla="*/ 9144000 w 9203812"/>
                    <a:gd name="connsiteY28" fmla="*/ 19352 h 3383038"/>
                    <a:gd name="connsiteX29" fmla="*/ 9154885 w 9203812"/>
                    <a:gd name="connsiteY29" fmla="*/ 19352 h 3383038"/>
                    <a:gd name="connsiteX30" fmla="*/ 8414657 w 9203812"/>
                    <a:gd name="connsiteY30" fmla="*/ 8466 h 3383038"/>
                    <a:gd name="connsiteX31" fmla="*/ 7783285 w 9203812"/>
                    <a:gd name="connsiteY31" fmla="*/ 8466 h 3383038"/>
                    <a:gd name="connsiteX32" fmla="*/ 6814457 w 9203812"/>
                    <a:gd name="connsiteY32" fmla="*/ 19352 h 3383038"/>
                    <a:gd name="connsiteX33" fmla="*/ 5867400 w 9203812"/>
                    <a:gd name="connsiteY33" fmla="*/ 30238 h 3383038"/>
                    <a:gd name="connsiteX34" fmla="*/ 5072742 w 9203812"/>
                    <a:gd name="connsiteY34" fmla="*/ 62894 h 3383038"/>
                    <a:gd name="connsiteX35" fmla="*/ 5029200 w 9203812"/>
                    <a:gd name="connsiteY35" fmla="*/ 302381 h 3383038"/>
                    <a:gd name="connsiteX36" fmla="*/ 5932714 w 9203812"/>
                    <a:gd name="connsiteY36" fmla="*/ 530981 h 3383038"/>
                    <a:gd name="connsiteX37" fmla="*/ 6444342 w 9203812"/>
                    <a:gd name="connsiteY37" fmla="*/ 618066 h 3383038"/>
                    <a:gd name="connsiteX38" fmla="*/ 6683828 w 9203812"/>
                    <a:gd name="connsiteY38" fmla="*/ 683381 h 3383038"/>
                    <a:gd name="connsiteX39" fmla="*/ 6574971 w 9203812"/>
                    <a:gd name="connsiteY39" fmla="*/ 770466 h 3383038"/>
                    <a:gd name="connsiteX40" fmla="*/ 5845628 w 9203812"/>
                    <a:gd name="connsiteY40" fmla="*/ 846666 h 3383038"/>
                    <a:gd name="connsiteX41" fmla="*/ 4942114 w 9203812"/>
                    <a:gd name="connsiteY41" fmla="*/ 933752 h 3383038"/>
                    <a:gd name="connsiteX42" fmla="*/ 4245428 w 9203812"/>
                    <a:gd name="connsiteY42" fmla="*/ 955523 h 3383038"/>
                    <a:gd name="connsiteX43" fmla="*/ 3374571 w 9203812"/>
                    <a:gd name="connsiteY43" fmla="*/ 1064381 h 3383038"/>
                    <a:gd name="connsiteX44" fmla="*/ 3265714 w 9203812"/>
                    <a:gd name="connsiteY44" fmla="*/ 1129695 h 3383038"/>
                    <a:gd name="connsiteX45" fmla="*/ 3265714 w 9203812"/>
                    <a:gd name="connsiteY45" fmla="*/ 1271209 h 3383038"/>
                    <a:gd name="connsiteX46" fmla="*/ 3614057 w 9203812"/>
                    <a:gd name="connsiteY46" fmla="*/ 1380066 h 3383038"/>
                    <a:gd name="connsiteX47" fmla="*/ 4604657 w 9203812"/>
                    <a:gd name="connsiteY47" fmla="*/ 1597781 h 3383038"/>
                    <a:gd name="connsiteX48" fmla="*/ 5529942 w 9203812"/>
                    <a:gd name="connsiteY48" fmla="*/ 1826381 h 3383038"/>
                    <a:gd name="connsiteX49" fmla="*/ 5867400 w 9203812"/>
                    <a:gd name="connsiteY49" fmla="*/ 1957009 h 3383038"/>
                    <a:gd name="connsiteX50" fmla="*/ 5998028 w 9203812"/>
                    <a:gd name="connsiteY50" fmla="*/ 2076752 h 3383038"/>
                    <a:gd name="connsiteX51" fmla="*/ 5780314 w 9203812"/>
                    <a:gd name="connsiteY51" fmla="*/ 2163838 h 3383038"/>
                    <a:gd name="connsiteX52" fmla="*/ 5236028 w 9203812"/>
                    <a:gd name="connsiteY52" fmla="*/ 2272695 h 3383038"/>
                    <a:gd name="connsiteX53" fmla="*/ 4147457 w 9203812"/>
                    <a:gd name="connsiteY53" fmla="*/ 2370666 h 3383038"/>
                    <a:gd name="connsiteX54" fmla="*/ 3113314 w 9203812"/>
                    <a:gd name="connsiteY54" fmla="*/ 2403323 h 3383038"/>
                    <a:gd name="connsiteX55" fmla="*/ 1915885 w 9203812"/>
                    <a:gd name="connsiteY55" fmla="*/ 2435981 h 3383038"/>
                    <a:gd name="connsiteX56" fmla="*/ 631371 w 9203812"/>
                    <a:gd name="connsiteY56" fmla="*/ 2457752 h 3383038"/>
                    <a:gd name="connsiteX57" fmla="*/ 239485 w 9203812"/>
                    <a:gd name="connsiteY57" fmla="*/ 2479523 h 3383038"/>
                    <a:gd name="connsiteX58" fmla="*/ 32657 w 9203812"/>
                    <a:gd name="connsiteY58" fmla="*/ 2457752 h 3383038"/>
                    <a:gd name="connsiteX59" fmla="*/ 32657 w 9203812"/>
                    <a:gd name="connsiteY59" fmla="*/ 2708123 h 3383038"/>
                    <a:gd name="connsiteX60" fmla="*/ 21771 w 9203812"/>
                    <a:gd name="connsiteY60" fmla="*/ 3121781 h 3383038"/>
                    <a:gd name="connsiteX61" fmla="*/ 0 w 9203812"/>
                    <a:gd name="connsiteY61" fmla="*/ 3383038 h 3383038"/>
                    <a:gd name="connsiteX0" fmla="*/ 0 w 9203812"/>
                    <a:gd name="connsiteY0" fmla="*/ 3383038 h 3383038"/>
                    <a:gd name="connsiteX1" fmla="*/ 740228 w 9203812"/>
                    <a:gd name="connsiteY1" fmla="*/ 3372152 h 3383038"/>
                    <a:gd name="connsiteX2" fmla="*/ 2394857 w 9203812"/>
                    <a:gd name="connsiteY2" fmla="*/ 3328609 h 3383038"/>
                    <a:gd name="connsiteX3" fmla="*/ 3951514 w 9203812"/>
                    <a:gd name="connsiteY3" fmla="*/ 3241523 h 3383038"/>
                    <a:gd name="connsiteX4" fmla="*/ 5431971 w 9203812"/>
                    <a:gd name="connsiteY4" fmla="*/ 3110895 h 3383038"/>
                    <a:gd name="connsiteX5" fmla="*/ 6161314 w 9203812"/>
                    <a:gd name="connsiteY5" fmla="*/ 2980266 h 3383038"/>
                    <a:gd name="connsiteX6" fmla="*/ 6912428 w 9203812"/>
                    <a:gd name="connsiteY6" fmla="*/ 2827866 h 3383038"/>
                    <a:gd name="connsiteX7" fmla="*/ 7456714 w 9203812"/>
                    <a:gd name="connsiteY7" fmla="*/ 2588381 h 3383038"/>
                    <a:gd name="connsiteX8" fmla="*/ 7761514 w 9203812"/>
                    <a:gd name="connsiteY8" fmla="*/ 2327123 h 3383038"/>
                    <a:gd name="connsiteX9" fmla="*/ 7783285 w 9203812"/>
                    <a:gd name="connsiteY9" fmla="*/ 2098523 h 3383038"/>
                    <a:gd name="connsiteX10" fmla="*/ 7707085 w 9203812"/>
                    <a:gd name="connsiteY10" fmla="*/ 1946124 h 3383038"/>
                    <a:gd name="connsiteX11" fmla="*/ 7478485 w 9203812"/>
                    <a:gd name="connsiteY11" fmla="*/ 1815495 h 3383038"/>
                    <a:gd name="connsiteX12" fmla="*/ 7032171 w 9203812"/>
                    <a:gd name="connsiteY12" fmla="*/ 1695752 h 3383038"/>
                    <a:gd name="connsiteX13" fmla="*/ 6313714 w 9203812"/>
                    <a:gd name="connsiteY13" fmla="*/ 1554238 h 3383038"/>
                    <a:gd name="connsiteX14" fmla="*/ 5671457 w 9203812"/>
                    <a:gd name="connsiteY14" fmla="*/ 1434495 h 3383038"/>
                    <a:gd name="connsiteX15" fmla="*/ 5421085 w 9203812"/>
                    <a:gd name="connsiteY15" fmla="*/ 1380066 h 3383038"/>
                    <a:gd name="connsiteX16" fmla="*/ 5170714 w 9203812"/>
                    <a:gd name="connsiteY16" fmla="*/ 1314752 h 3383038"/>
                    <a:gd name="connsiteX17" fmla="*/ 5192485 w 9203812"/>
                    <a:gd name="connsiteY17" fmla="*/ 1282095 h 3383038"/>
                    <a:gd name="connsiteX18" fmla="*/ 5704114 w 9203812"/>
                    <a:gd name="connsiteY18" fmla="*/ 1216781 h 3383038"/>
                    <a:gd name="connsiteX19" fmla="*/ 6890657 w 9203812"/>
                    <a:gd name="connsiteY19" fmla="*/ 1118809 h 3383038"/>
                    <a:gd name="connsiteX20" fmla="*/ 8022770 w 9203812"/>
                    <a:gd name="connsiteY20" fmla="*/ 944638 h 3383038"/>
                    <a:gd name="connsiteX21" fmla="*/ 7761514 w 9203812"/>
                    <a:gd name="connsiteY21" fmla="*/ 661609 h 3383038"/>
                    <a:gd name="connsiteX22" fmla="*/ 6466114 w 9203812"/>
                    <a:gd name="connsiteY22" fmla="*/ 400352 h 3383038"/>
                    <a:gd name="connsiteX23" fmla="*/ 5987142 w 9203812"/>
                    <a:gd name="connsiteY23" fmla="*/ 302381 h 3383038"/>
                    <a:gd name="connsiteX24" fmla="*/ 5976257 w 9203812"/>
                    <a:gd name="connsiteY24" fmla="*/ 258838 h 3383038"/>
                    <a:gd name="connsiteX25" fmla="*/ 6607628 w 9203812"/>
                    <a:gd name="connsiteY25" fmla="*/ 269723 h 3383038"/>
                    <a:gd name="connsiteX26" fmla="*/ 8447314 w 9203812"/>
                    <a:gd name="connsiteY26" fmla="*/ 302381 h 3383038"/>
                    <a:gd name="connsiteX27" fmla="*/ 9154885 w 9203812"/>
                    <a:gd name="connsiteY27" fmla="*/ 280609 h 3383038"/>
                    <a:gd name="connsiteX28" fmla="*/ 9144000 w 9203812"/>
                    <a:gd name="connsiteY28" fmla="*/ 19352 h 3383038"/>
                    <a:gd name="connsiteX29" fmla="*/ 9154885 w 9203812"/>
                    <a:gd name="connsiteY29" fmla="*/ 19352 h 3383038"/>
                    <a:gd name="connsiteX30" fmla="*/ 8414657 w 9203812"/>
                    <a:gd name="connsiteY30" fmla="*/ 8466 h 3383038"/>
                    <a:gd name="connsiteX31" fmla="*/ 7783285 w 9203812"/>
                    <a:gd name="connsiteY31" fmla="*/ 8466 h 3383038"/>
                    <a:gd name="connsiteX32" fmla="*/ 6814457 w 9203812"/>
                    <a:gd name="connsiteY32" fmla="*/ 19352 h 3383038"/>
                    <a:gd name="connsiteX33" fmla="*/ 5867400 w 9203812"/>
                    <a:gd name="connsiteY33" fmla="*/ 30238 h 3383038"/>
                    <a:gd name="connsiteX34" fmla="*/ 5072742 w 9203812"/>
                    <a:gd name="connsiteY34" fmla="*/ 62894 h 3383038"/>
                    <a:gd name="connsiteX35" fmla="*/ 5029200 w 9203812"/>
                    <a:gd name="connsiteY35" fmla="*/ 302381 h 3383038"/>
                    <a:gd name="connsiteX36" fmla="*/ 5932714 w 9203812"/>
                    <a:gd name="connsiteY36" fmla="*/ 530981 h 3383038"/>
                    <a:gd name="connsiteX37" fmla="*/ 6444342 w 9203812"/>
                    <a:gd name="connsiteY37" fmla="*/ 618066 h 3383038"/>
                    <a:gd name="connsiteX38" fmla="*/ 6683828 w 9203812"/>
                    <a:gd name="connsiteY38" fmla="*/ 683381 h 3383038"/>
                    <a:gd name="connsiteX39" fmla="*/ 6574971 w 9203812"/>
                    <a:gd name="connsiteY39" fmla="*/ 770466 h 3383038"/>
                    <a:gd name="connsiteX40" fmla="*/ 5845628 w 9203812"/>
                    <a:gd name="connsiteY40" fmla="*/ 846666 h 3383038"/>
                    <a:gd name="connsiteX41" fmla="*/ 4942114 w 9203812"/>
                    <a:gd name="connsiteY41" fmla="*/ 933752 h 3383038"/>
                    <a:gd name="connsiteX42" fmla="*/ 4245428 w 9203812"/>
                    <a:gd name="connsiteY42" fmla="*/ 955523 h 3383038"/>
                    <a:gd name="connsiteX43" fmla="*/ 3374571 w 9203812"/>
                    <a:gd name="connsiteY43" fmla="*/ 1064381 h 3383038"/>
                    <a:gd name="connsiteX44" fmla="*/ 3265714 w 9203812"/>
                    <a:gd name="connsiteY44" fmla="*/ 1129695 h 3383038"/>
                    <a:gd name="connsiteX45" fmla="*/ 3265714 w 9203812"/>
                    <a:gd name="connsiteY45" fmla="*/ 1271209 h 3383038"/>
                    <a:gd name="connsiteX46" fmla="*/ 3614057 w 9203812"/>
                    <a:gd name="connsiteY46" fmla="*/ 1380066 h 3383038"/>
                    <a:gd name="connsiteX47" fmla="*/ 4604657 w 9203812"/>
                    <a:gd name="connsiteY47" fmla="*/ 1597781 h 3383038"/>
                    <a:gd name="connsiteX48" fmla="*/ 5529942 w 9203812"/>
                    <a:gd name="connsiteY48" fmla="*/ 1826381 h 3383038"/>
                    <a:gd name="connsiteX49" fmla="*/ 5867400 w 9203812"/>
                    <a:gd name="connsiteY49" fmla="*/ 1957009 h 3383038"/>
                    <a:gd name="connsiteX50" fmla="*/ 5998028 w 9203812"/>
                    <a:gd name="connsiteY50" fmla="*/ 2076752 h 3383038"/>
                    <a:gd name="connsiteX51" fmla="*/ 5780314 w 9203812"/>
                    <a:gd name="connsiteY51" fmla="*/ 2163838 h 3383038"/>
                    <a:gd name="connsiteX52" fmla="*/ 5236028 w 9203812"/>
                    <a:gd name="connsiteY52" fmla="*/ 2272695 h 3383038"/>
                    <a:gd name="connsiteX53" fmla="*/ 4147457 w 9203812"/>
                    <a:gd name="connsiteY53" fmla="*/ 2370666 h 3383038"/>
                    <a:gd name="connsiteX54" fmla="*/ 3113314 w 9203812"/>
                    <a:gd name="connsiteY54" fmla="*/ 2403323 h 3383038"/>
                    <a:gd name="connsiteX55" fmla="*/ 1915885 w 9203812"/>
                    <a:gd name="connsiteY55" fmla="*/ 2435981 h 3383038"/>
                    <a:gd name="connsiteX56" fmla="*/ 631371 w 9203812"/>
                    <a:gd name="connsiteY56" fmla="*/ 2457752 h 3383038"/>
                    <a:gd name="connsiteX57" fmla="*/ 239485 w 9203812"/>
                    <a:gd name="connsiteY57" fmla="*/ 2479523 h 3383038"/>
                    <a:gd name="connsiteX58" fmla="*/ 32657 w 9203812"/>
                    <a:gd name="connsiteY58" fmla="*/ 2457752 h 3383038"/>
                    <a:gd name="connsiteX59" fmla="*/ 32657 w 9203812"/>
                    <a:gd name="connsiteY59" fmla="*/ 2708123 h 3383038"/>
                    <a:gd name="connsiteX60" fmla="*/ 21771 w 9203812"/>
                    <a:gd name="connsiteY60" fmla="*/ 3121781 h 3383038"/>
                    <a:gd name="connsiteX61" fmla="*/ 0 w 9203812"/>
                    <a:gd name="connsiteY61" fmla="*/ 3383038 h 3383038"/>
                    <a:gd name="connsiteX0" fmla="*/ 0 w 9154885"/>
                    <a:gd name="connsiteY0" fmla="*/ 3383038 h 3383038"/>
                    <a:gd name="connsiteX1" fmla="*/ 740228 w 9154885"/>
                    <a:gd name="connsiteY1" fmla="*/ 3372152 h 3383038"/>
                    <a:gd name="connsiteX2" fmla="*/ 2394857 w 9154885"/>
                    <a:gd name="connsiteY2" fmla="*/ 3328609 h 3383038"/>
                    <a:gd name="connsiteX3" fmla="*/ 3951514 w 9154885"/>
                    <a:gd name="connsiteY3" fmla="*/ 3241523 h 3383038"/>
                    <a:gd name="connsiteX4" fmla="*/ 5431971 w 9154885"/>
                    <a:gd name="connsiteY4" fmla="*/ 3110895 h 3383038"/>
                    <a:gd name="connsiteX5" fmla="*/ 6161314 w 9154885"/>
                    <a:gd name="connsiteY5" fmla="*/ 2980266 h 3383038"/>
                    <a:gd name="connsiteX6" fmla="*/ 6912428 w 9154885"/>
                    <a:gd name="connsiteY6" fmla="*/ 2827866 h 3383038"/>
                    <a:gd name="connsiteX7" fmla="*/ 7456714 w 9154885"/>
                    <a:gd name="connsiteY7" fmla="*/ 2588381 h 3383038"/>
                    <a:gd name="connsiteX8" fmla="*/ 7761514 w 9154885"/>
                    <a:gd name="connsiteY8" fmla="*/ 2327123 h 3383038"/>
                    <a:gd name="connsiteX9" fmla="*/ 7783285 w 9154885"/>
                    <a:gd name="connsiteY9" fmla="*/ 2098523 h 3383038"/>
                    <a:gd name="connsiteX10" fmla="*/ 7707085 w 9154885"/>
                    <a:gd name="connsiteY10" fmla="*/ 1946124 h 3383038"/>
                    <a:gd name="connsiteX11" fmla="*/ 7478485 w 9154885"/>
                    <a:gd name="connsiteY11" fmla="*/ 1815495 h 3383038"/>
                    <a:gd name="connsiteX12" fmla="*/ 7032171 w 9154885"/>
                    <a:gd name="connsiteY12" fmla="*/ 1695752 h 3383038"/>
                    <a:gd name="connsiteX13" fmla="*/ 6313714 w 9154885"/>
                    <a:gd name="connsiteY13" fmla="*/ 1554238 h 3383038"/>
                    <a:gd name="connsiteX14" fmla="*/ 5671457 w 9154885"/>
                    <a:gd name="connsiteY14" fmla="*/ 1434495 h 3383038"/>
                    <a:gd name="connsiteX15" fmla="*/ 5421085 w 9154885"/>
                    <a:gd name="connsiteY15" fmla="*/ 1380066 h 3383038"/>
                    <a:gd name="connsiteX16" fmla="*/ 5170714 w 9154885"/>
                    <a:gd name="connsiteY16" fmla="*/ 1314752 h 3383038"/>
                    <a:gd name="connsiteX17" fmla="*/ 5192485 w 9154885"/>
                    <a:gd name="connsiteY17" fmla="*/ 1282095 h 3383038"/>
                    <a:gd name="connsiteX18" fmla="*/ 5704114 w 9154885"/>
                    <a:gd name="connsiteY18" fmla="*/ 1216781 h 3383038"/>
                    <a:gd name="connsiteX19" fmla="*/ 6890657 w 9154885"/>
                    <a:gd name="connsiteY19" fmla="*/ 1118809 h 3383038"/>
                    <a:gd name="connsiteX20" fmla="*/ 8022770 w 9154885"/>
                    <a:gd name="connsiteY20" fmla="*/ 944638 h 3383038"/>
                    <a:gd name="connsiteX21" fmla="*/ 7761514 w 9154885"/>
                    <a:gd name="connsiteY21" fmla="*/ 661609 h 3383038"/>
                    <a:gd name="connsiteX22" fmla="*/ 6466114 w 9154885"/>
                    <a:gd name="connsiteY22" fmla="*/ 400352 h 3383038"/>
                    <a:gd name="connsiteX23" fmla="*/ 5987142 w 9154885"/>
                    <a:gd name="connsiteY23" fmla="*/ 302381 h 3383038"/>
                    <a:gd name="connsiteX24" fmla="*/ 5976257 w 9154885"/>
                    <a:gd name="connsiteY24" fmla="*/ 258838 h 3383038"/>
                    <a:gd name="connsiteX25" fmla="*/ 6607628 w 9154885"/>
                    <a:gd name="connsiteY25" fmla="*/ 269723 h 3383038"/>
                    <a:gd name="connsiteX26" fmla="*/ 8447314 w 9154885"/>
                    <a:gd name="connsiteY26" fmla="*/ 302381 h 3383038"/>
                    <a:gd name="connsiteX27" fmla="*/ 9154885 w 9154885"/>
                    <a:gd name="connsiteY27" fmla="*/ 280609 h 3383038"/>
                    <a:gd name="connsiteX28" fmla="*/ 9144000 w 9154885"/>
                    <a:gd name="connsiteY28" fmla="*/ 19352 h 3383038"/>
                    <a:gd name="connsiteX29" fmla="*/ 9154885 w 9154885"/>
                    <a:gd name="connsiteY29" fmla="*/ 19352 h 3383038"/>
                    <a:gd name="connsiteX30" fmla="*/ 8414657 w 9154885"/>
                    <a:gd name="connsiteY30" fmla="*/ 8466 h 3383038"/>
                    <a:gd name="connsiteX31" fmla="*/ 7783285 w 9154885"/>
                    <a:gd name="connsiteY31" fmla="*/ 8466 h 3383038"/>
                    <a:gd name="connsiteX32" fmla="*/ 6814457 w 9154885"/>
                    <a:gd name="connsiteY32" fmla="*/ 19352 h 3383038"/>
                    <a:gd name="connsiteX33" fmla="*/ 5867400 w 9154885"/>
                    <a:gd name="connsiteY33" fmla="*/ 30238 h 3383038"/>
                    <a:gd name="connsiteX34" fmla="*/ 5072742 w 9154885"/>
                    <a:gd name="connsiteY34" fmla="*/ 62894 h 3383038"/>
                    <a:gd name="connsiteX35" fmla="*/ 5029200 w 9154885"/>
                    <a:gd name="connsiteY35" fmla="*/ 302381 h 3383038"/>
                    <a:gd name="connsiteX36" fmla="*/ 5932714 w 9154885"/>
                    <a:gd name="connsiteY36" fmla="*/ 530981 h 3383038"/>
                    <a:gd name="connsiteX37" fmla="*/ 6444342 w 9154885"/>
                    <a:gd name="connsiteY37" fmla="*/ 618066 h 3383038"/>
                    <a:gd name="connsiteX38" fmla="*/ 6683828 w 9154885"/>
                    <a:gd name="connsiteY38" fmla="*/ 683381 h 3383038"/>
                    <a:gd name="connsiteX39" fmla="*/ 6574971 w 9154885"/>
                    <a:gd name="connsiteY39" fmla="*/ 770466 h 3383038"/>
                    <a:gd name="connsiteX40" fmla="*/ 5845628 w 9154885"/>
                    <a:gd name="connsiteY40" fmla="*/ 846666 h 3383038"/>
                    <a:gd name="connsiteX41" fmla="*/ 4942114 w 9154885"/>
                    <a:gd name="connsiteY41" fmla="*/ 933752 h 3383038"/>
                    <a:gd name="connsiteX42" fmla="*/ 4245428 w 9154885"/>
                    <a:gd name="connsiteY42" fmla="*/ 955523 h 3383038"/>
                    <a:gd name="connsiteX43" fmla="*/ 3374571 w 9154885"/>
                    <a:gd name="connsiteY43" fmla="*/ 1064381 h 3383038"/>
                    <a:gd name="connsiteX44" fmla="*/ 3265714 w 9154885"/>
                    <a:gd name="connsiteY44" fmla="*/ 1129695 h 3383038"/>
                    <a:gd name="connsiteX45" fmla="*/ 3265714 w 9154885"/>
                    <a:gd name="connsiteY45" fmla="*/ 1271209 h 3383038"/>
                    <a:gd name="connsiteX46" fmla="*/ 3614057 w 9154885"/>
                    <a:gd name="connsiteY46" fmla="*/ 1380066 h 3383038"/>
                    <a:gd name="connsiteX47" fmla="*/ 4604657 w 9154885"/>
                    <a:gd name="connsiteY47" fmla="*/ 1597781 h 3383038"/>
                    <a:gd name="connsiteX48" fmla="*/ 5529942 w 9154885"/>
                    <a:gd name="connsiteY48" fmla="*/ 1826381 h 3383038"/>
                    <a:gd name="connsiteX49" fmla="*/ 5867400 w 9154885"/>
                    <a:gd name="connsiteY49" fmla="*/ 1957009 h 3383038"/>
                    <a:gd name="connsiteX50" fmla="*/ 5998028 w 9154885"/>
                    <a:gd name="connsiteY50" fmla="*/ 2076752 h 3383038"/>
                    <a:gd name="connsiteX51" fmla="*/ 5780314 w 9154885"/>
                    <a:gd name="connsiteY51" fmla="*/ 2163838 h 3383038"/>
                    <a:gd name="connsiteX52" fmla="*/ 5236028 w 9154885"/>
                    <a:gd name="connsiteY52" fmla="*/ 2272695 h 3383038"/>
                    <a:gd name="connsiteX53" fmla="*/ 4147457 w 9154885"/>
                    <a:gd name="connsiteY53" fmla="*/ 2370666 h 3383038"/>
                    <a:gd name="connsiteX54" fmla="*/ 3113314 w 9154885"/>
                    <a:gd name="connsiteY54" fmla="*/ 2403323 h 3383038"/>
                    <a:gd name="connsiteX55" fmla="*/ 1915885 w 9154885"/>
                    <a:gd name="connsiteY55" fmla="*/ 2435981 h 3383038"/>
                    <a:gd name="connsiteX56" fmla="*/ 631371 w 9154885"/>
                    <a:gd name="connsiteY56" fmla="*/ 2457752 h 3383038"/>
                    <a:gd name="connsiteX57" fmla="*/ 239485 w 9154885"/>
                    <a:gd name="connsiteY57" fmla="*/ 2479523 h 3383038"/>
                    <a:gd name="connsiteX58" fmla="*/ 32657 w 9154885"/>
                    <a:gd name="connsiteY58" fmla="*/ 2457752 h 3383038"/>
                    <a:gd name="connsiteX59" fmla="*/ 32657 w 9154885"/>
                    <a:gd name="connsiteY59" fmla="*/ 2708123 h 3383038"/>
                    <a:gd name="connsiteX60" fmla="*/ 21771 w 9154885"/>
                    <a:gd name="connsiteY60" fmla="*/ 3121781 h 3383038"/>
                    <a:gd name="connsiteX61" fmla="*/ 0 w 9154885"/>
                    <a:gd name="connsiteY61" fmla="*/ 3383038 h 3383038"/>
                    <a:gd name="connsiteX0" fmla="*/ 0 w 9154885"/>
                    <a:gd name="connsiteY0" fmla="*/ 3383038 h 3383038"/>
                    <a:gd name="connsiteX1" fmla="*/ 740228 w 9154885"/>
                    <a:gd name="connsiteY1" fmla="*/ 3372152 h 3383038"/>
                    <a:gd name="connsiteX2" fmla="*/ 2394857 w 9154885"/>
                    <a:gd name="connsiteY2" fmla="*/ 3328609 h 3383038"/>
                    <a:gd name="connsiteX3" fmla="*/ 3951514 w 9154885"/>
                    <a:gd name="connsiteY3" fmla="*/ 3241523 h 3383038"/>
                    <a:gd name="connsiteX4" fmla="*/ 5431971 w 9154885"/>
                    <a:gd name="connsiteY4" fmla="*/ 3110895 h 3383038"/>
                    <a:gd name="connsiteX5" fmla="*/ 6161314 w 9154885"/>
                    <a:gd name="connsiteY5" fmla="*/ 2980266 h 3383038"/>
                    <a:gd name="connsiteX6" fmla="*/ 6912428 w 9154885"/>
                    <a:gd name="connsiteY6" fmla="*/ 2827866 h 3383038"/>
                    <a:gd name="connsiteX7" fmla="*/ 7456714 w 9154885"/>
                    <a:gd name="connsiteY7" fmla="*/ 2588381 h 3383038"/>
                    <a:gd name="connsiteX8" fmla="*/ 7761514 w 9154885"/>
                    <a:gd name="connsiteY8" fmla="*/ 2327123 h 3383038"/>
                    <a:gd name="connsiteX9" fmla="*/ 7783285 w 9154885"/>
                    <a:gd name="connsiteY9" fmla="*/ 2098523 h 3383038"/>
                    <a:gd name="connsiteX10" fmla="*/ 7707085 w 9154885"/>
                    <a:gd name="connsiteY10" fmla="*/ 1946124 h 3383038"/>
                    <a:gd name="connsiteX11" fmla="*/ 7478485 w 9154885"/>
                    <a:gd name="connsiteY11" fmla="*/ 1815495 h 3383038"/>
                    <a:gd name="connsiteX12" fmla="*/ 7032171 w 9154885"/>
                    <a:gd name="connsiteY12" fmla="*/ 1695752 h 3383038"/>
                    <a:gd name="connsiteX13" fmla="*/ 6313714 w 9154885"/>
                    <a:gd name="connsiteY13" fmla="*/ 1554238 h 3383038"/>
                    <a:gd name="connsiteX14" fmla="*/ 5671457 w 9154885"/>
                    <a:gd name="connsiteY14" fmla="*/ 1434495 h 3383038"/>
                    <a:gd name="connsiteX15" fmla="*/ 5421085 w 9154885"/>
                    <a:gd name="connsiteY15" fmla="*/ 1380066 h 3383038"/>
                    <a:gd name="connsiteX16" fmla="*/ 5170714 w 9154885"/>
                    <a:gd name="connsiteY16" fmla="*/ 1314752 h 3383038"/>
                    <a:gd name="connsiteX17" fmla="*/ 5192485 w 9154885"/>
                    <a:gd name="connsiteY17" fmla="*/ 1282095 h 3383038"/>
                    <a:gd name="connsiteX18" fmla="*/ 5704114 w 9154885"/>
                    <a:gd name="connsiteY18" fmla="*/ 1216781 h 3383038"/>
                    <a:gd name="connsiteX19" fmla="*/ 6890657 w 9154885"/>
                    <a:gd name="connsiteY19" fmla="*/ 1118809 h 3383038"/>
                    <a:gd name="connsiteX20" fmla="*/ 8022770 w 9154885"/>
                    <a:gd name="connsiteY20" fmla="*/ 944638 h 3383038"/>
                    <a:gd name="connsiteX21" fmla="*/ 7761514 w 9154885"/>
                    <a:gd name="connsiteY21" fmla="*/ 661609 h 3383038"/>
                    <a:gd name="connsiteX22" fmla="*/ 6466114 w 9154885"/>
                    <a:gd name="connsiteY22" fmla="*/ 400352 h 3383038"/>
                    <a:gd name="connsiteX23" fmla="*/ 5987142 w 9154885"/>
                    <a:gd name="connsiteY23" fmla="*/ 302381 h 3383038"/>
                    <a:gd name="connsiteX24" fmla="*/ 5976257 w 9154885"/>
                    <a:gd name="connsiteY24" fmla="*/ 258838 h 3383038"/>
                    <a:gd name="connsiteX25" fmla="*/ 6607628 w 9154885"/>
                    <a:gd name="connsiteY25" fmla="*/ 269723 h 3383038"/>
                    <a:gd name="connsiteX26" fmla="*/ 8447314 w 9154885"/>
                    <a:gd name="connsiteY26" fmla="*/ 302381 h 3383038"/>
                    <a:gd name="connsiteX27" fmla="*/ 9154885 w 9154885"/>
                    <a:gd name="connsiteY27" fmla="*/ 280609 h 3383038"/>
                    <a:gd name="connsiteX28" fmla="*/ 9144000 w 9154885"/>
                    <a:gd name="connsiteY28" fmla="*/ 19352 h 3383038"/>
                    <a:gd name="connsiteX29" fmla="*/ 9154885 w 9154885"/>
                    <a:gd name="connsiteY29" fmla="*/ 19352 h 3383038"/>
                    <a:gd name="connsiteX30" fmla="*/ 8414657 w 9154885"/>
                    <a:gd name="connsiteY30" fmla="*/ 8466 h 3383038"/>
                    <a:gd name="connsiteX31" fmla="*/ 7783285 w 9154885"/>
                    <a:gd name="connsiteY31" fmla="*/ 8466 h 3383038"/>
                    <a:gd name="connsiteX32" fmla="*/ 6814457 w 9154885"/>
                    <a:gd name="connsiteY32" fmla="*/ 19352 h 3383038"/>
                    <a:gd name="connsiteX33" fmla="*/ 5867400 w 9154885"/>
                    <a:gd name="connsiteY33" fmla="*/ 30238 h 3383038"/>
                    <a:gd name="connsiteX34" fmla="*/ 5072742 w 9154885"/>
                    <a:gd name="connsiteY34" fmla="*/ 62894 h 3383038"/>
                    <a:gd name="connsiteX35" fmla="*/ 5029200 w 9154885"/>
                    <a:gd name="connsiteY35" fmla="*/ 302381 h 3383038"/>
                    <a:gd name="connsiteX36" fmla="*/ 5932714 w 9154885"/>
                    <a:gd name="connsiteY36" fmla="*/ 530981 h 3383038"/>
                    <a:gd name="connsiteX37" fmla="*/ 6444342 w 9154885"/>
                    <a:gd name="connsiteY37" fmla="*/ 618066 h 3383038"/>
                    <a:gd name="connsiteX38" fmla="*/ 6683828 w 9154885"/>
                    <a:gd name="connsiteY38" fmla="*/ 683381 h 3383038"/>
                    <a:gd name="connsiteX39" fmla="*/ 6574971 w 9154885"/>
                    <a:gd name="connsiteY39" fmla="*/ 770466 h 3383038"/>
                    <a:gd name="connsiteX40" fmla="*/ 5845628 w 9154885"/>
                    <a:gd name="connsiteY40" fmla="*/ 846666 h 3383038"/>
                    <a:gd name="connsiteX41" fmla="*/ 4942114 w 9154885"/>
                    <a:gd name="connsiteY41" fmla="*/ 933752 h 3383038"/>
                    <a:gd name="connsiteX42" fmla="*/ 4245428 w 9154885"/>
                    <a:gd name="connsiteY42" fmla="*/ 955523 h 3383038"/>
                    <a:gd name="connsiteX43" fmla="*/ 3374571 w 9154885"/>
                    <a:gd name="connsiteY43" fmla="*/ 1064381 h 3383038"/>
                    <a:gd name="connsiteX44" fmla="*/ 3265714 w 9154885"/>
                    <a:gd name="connsiteY44" fmla="*/ 1129695 h 3383038"/>
                    <a:gd name="connsiteX45" fmla="*/ 3265714 w 9154885"/>
                    <a:gd name="connsiteY45" fmla="*/ 1271209 h 3383038"/>
                    <a:gd name="connsiteX46" fmla="*/ 3614057 w 9154885"/>
                    <a:gd name="connsiteY46" fmla="*/ 1380066 h 3383038"/>
                    <a:gd name="connsiteX47" fmla="*/ 4604657 w 9154885"/>
                    <a:gd name="connsiteY47" fmla="*/ 1597781 h 3383038"/>
                    <a:gd name="connsiteX48" fmla="*/ 5529942 w 9154885"/>
                    <a:gd name="connsiteY48" fmla="*/ 1826381 h 3383038"/>
                    <a:gd name="connsiteX49" fmla="*/ 5867400 w 9154885"/>
                    <a:gd name="connsiteY49" fmla="*/ 1957009 h 3383038"/>
                    <a:gd name="connsiteX50" fmla="*/ 5998028 w 9154885"/>
                    <a:gd name="connsiteY50" fmla="*/ 2076752 h 3383038"/>
                    <a:gd name="connsiteX51" fmla="*/ 5780314 w 9154885"/>
                    <a:gd name="connsiteY51" fmla="*/ 2163838 h 3383038"/>
                    <a:gd name="connsiteX52" fmla="*/ 5236028 w 9154885"/>
                    <a:gd name="connsiteY52" fmla="*/ 2272695 h 3383038"/>
                    <a:gd name="connsiteX53" fmla="*/ 4147457 w 9154885"/>
                    <a:gd name="connsiteY53" fmla="*/ 2370666 h 3383038"/>
                    <a:gd name="connsiteX54" fmla="*/ 3113314 w 9154885"/>
                    <a:gd name="connsiteY54" fmla="*/ 2403323 h 3383038"/>
                    <a:gd name="connsiteX55" fmla="*/ 1915885 w 9154885"/>
                    <a:gd name="connsiteY55" fmla="*/ 2435981 h 3383038"/>
                    <a:gd name="connsiteX56" fmla="*/ 631371 w 9154885"/>
                    <a:gd name="connsiteY56" fmla="*/ 2457752 h 3383038"/>
                    <a:gd name="connsiteX57" fmla="*/ 239485 w 9154885"/>
                    <a:gd name="connsiteY57" fmla="*/ 2479523 h 3383038"/>
                    <a:gd name="connsiteX58" fmla="*/ 32657 w 9154885"/>
                    <a:gd name="connsiteY58" fmla="*/ 2457752 h 3383038"/>
                    <a:gd name="connsiteX59" fmla="*/ 32657 w 9154885"/>
                    <a:gd name="connsiteY59" fmla="*/ 2708123 h 3383038"/>
                    <a:gd name="connsiteX60" fmla="*/ 21771 w 9154885"/>
                    <a:gd name="connsiteY60" fmla="*/ 3121781 h 3383038"/>
                    <a:gd name="connsiteX61" fmla="*/ 0 w 9154885"/>
                    <a:gd name="connsiteY61" fmla="*/ 3383038 h 3383038"/>
                    <a:gd name="connsiteX0" fmla="*/ 0 w 9154885"/>
                    <a:gd name="connsiteY0" fmla="*/ 3383038 h 3383038"/>
                    <a:gd name="connsiteX1" fmla="*/ 740228 w 9154885"/>
                    <a:gd name="connsiteY1" fmla="*/ 3372152 h 3383038"/>
                    <a:gd name="connsiteX2" fmla="*/ 2394857 w 9154885"/>
                    <a:gd name="connsiteY2" fmla="*/ 3328609 h 3383038"/>
                    <a:gd name="connsiteX3" fmla="*/ 3951514 w 9154885"/>
                    <a:gd name="connsiteY3" fmla="*/ 3241523 h 3383038"/>
                    <a:gd name="connsiteX4" fmla="*/ 5431971 w 9154885"/>
                    <a:gd name="connsiteY4" fmla="*/ 3110895 h 3383038"/>
                    <a:gd name="connsiteX5" fmla="*/ 6161314 w 9154885"/>
                    <a:gd name="connsiteY5" fmla="*/ 2980266 h 3383038"/>
                    <a:gd name="connsiteX6" fmla="*/ 6912428 w 9154885"/>
                    <a:gd name="connsiteY6" fmla="*/ 2827866 h 3383038"/>
                    <a:gd name="connsiteX7" fmla="*/ 7456714 w 9154885"/>
                    <a:gd name="connsiteY7" fmla="*/ 2588381 h 3383038"/>
                    <a:gd name="connsiteX8" fmla="*/ 7761514 w 9154885"/>
                    <a:gd name="connsiteY8" fmla="*/ 2327123 h 3383038"/>
                    <a:gd name="connsiteX9" fmla="*/ 7783285 w 9154885"/>
                    <a:gd name="connsiteY9" fmla="*/ 2098523 h 3383038"/>
                    <a:gd name="connsiteX10" fmla="*/ 7707085 w 9154885"/>
                    <a:gd name="connsiteY10" fmla="*/ 1946124 h 3383038"/>
                    <a:gd name="connsiteX11" fmla="*/ 7478485 w 9154885"/>
                    <a:gd name="connsiteY11" fmla="*/ 1815495 h 3383038"/>
                    <a:gd name="connsiteX12" fmla="*/ 7032171 w 9154885"/>
                    <a:gd name="connsiteY12" fmla="*/ 1695752 h 3383038"/>
                    <a:gd name="connsiteX13" fmla="*/ 6313714 w 9154885"/>
                    <a:gd name="connsiteY13" fmla="*/ 1554238 h 3383038"/>
                    <a:gd name="connsiteX14" fmla="*/ 5671457 w 9154885"/>
                    <a:gd name="connsiteY14" fmla="*/ 1434495 h 3383038"/>
                    <a:gd name="connsiteX15" fmla="*/ 5421085 w 9154885"/>
                    <a:gd name="connsiteY15" fmla="*/ 1380066 h 3383038"/>
                    <a:gd name="connsiteX16" fmla="*/ 5170714 w 9154885"/>
                    <a:gd name="connsiteY16" fmla="*/ 1314752 h 3383038"/>
                    <a:gd name="connsiteX17" fmla="*/ 5192485 w 9154885"/>
                    <a:gd name="connsiteY17" fmla="*/ 1282095 h 3383038"/>
                    <a:gd name="connsiteX18" fmla="*/ 5704114 w 9154885"/>
                    <a:gd name="connsiteY18" fmla="*/ 1216781 h 3383038"/>
                    <a:gd name="connsiteX19" fmla="*/ 6890657 w 9154885"/>
                    <a:gd name="connsiteY19" fmla="*/ 1118809 h 3383038"/>
                    <a:gd name="connsiteX20" fmla="*/ 8022770 w 9154885"/>
                    <a:gd name="connsiteY20" fmla="*/ 944638 h 3383038"/>
                    <a:gd name="connsiteX21" fmla="*/ 7761514 w 9154885"/>
                    <a:gd name="connsiteY21" fmla="*/ 661609 h 3383038"/>
                    <a:gd name="connsiteX22" fmla="*/ 6466114 w 9154885"/>
                    <a:gd name="connsiteY22" fmla="*/ 400352 h 3383038"/>
                    <a:gd name="connsiteX23" fmla="*/ 5987142 w 9154885"/>
                    <a:gd name="connsiteY23" fmla="*/ 302381 h 3383038"/>
                    <a:gd name="connsiteX24" fmla="*/ 5976257 w 9154885"/>
                    <a:gd name="connsiteY24" fmla="*/ 258838 h 3383038"/>
                    <a:gd name="connsiteX25" fmla="*/ 6607628 w 9154885"/>
                    <a:gd name="connsiteY25" fmla="*/ 269723 h 3383038"/>
                    <a:gd name="connsiteX26" fmla="*/ 8447314 w 9154885"/>
                    <a:gd name="connsiteY26" fmla="*/ 267211 h 3383038"/>
                    <a:gd name="connsiteX27" fmla="*/ 9154885 w 9154885"/>
                    <a:gd name="connsiteY27" fmla="*/ 280609 h 3383038"/>
                    <a:gd name="connsiteX28" fmla="*/ 9144000 w 9154885"/>
                    <a:gd name="connsiteY28" fmla="*/ 19352 h 3383038"/>
                    <a:gd name="connsiteX29" fmla="*/ 9154885 w 9154885"/>
                    <a:gd name="connsiteY29" fmla="*/ 19352 h 3383038"/>
                    <a:gd name="connsiteX30" fmla="*/ 8414657 w 9154885"/>
                    <a:gd name="connsiteY30" fmla="*/ 8466 h 3383038"/>
                    <a:gd name="connsiteX31" fmla="*/ 7783285 w 9154885"/>
                    <a:gd name="connsiteY31" fmla="*/ 8466 h 3383038"/>
                    <a:gd name="connsiteX32" fmla="*/ 6814457 w 9154885"/>
                    <a:gd name="connsiteY32" fmla="*/ 19352 h 3383038"/>
                    <a:gd name="connsiteX33" fmla="*/ 5867400 w 9154885"/>
                    <a:gd name="connsiteY33" fmla="*/ 30238 h 3383038"/>
                    <a:gd name="connsiteX34" fmla="*/ 5072742 w 9154885"/>
                    <a:gd name="connsiteY34" fmla="*/ 62894 h 3383038"/>
                    <a:gd name="connsiteX35" fmla="*/ 5029200 w 9154885"/>
                    <a:gd name="connsiteY35" fmla="*/ 302381 h 3383038"/>
                    <a:gd name="connsiteX36" fmla="*/ 5932714 w 9154885"/>
                    <a:gd name="connsiteY36" fmla="*/ 530981 h 3383038"/>
                    <a:gd name="connsiteX37" fmla="*/ 6444342 w 9154885"/>
                    <a:gd name="connsiteY37" fmla="*/ 618066 h 3383038"/>
                    <a:gd name="connsiteX38" fmla="*/ 6683828 w 9154885"/>
                    <a:gd name="connsiteY38" fmla="*/ 683381 h 3383038"/>
                    <a:gd name="connsiteX39" fmla="*/ 6574971 w 9154885"/>
                    <a:gd name="connsiteY39" fmla="*/ 770466 h 3383038"/>
                    <a:gd name="connsiteX40" fmla="*/ 5845628 w 9154885"/>
                    <a:gd name="connsiteY40" fmla="*/ 846666 h 3383038"/>
                    <a:gd name="connsiteX41" fmla="*/ 4942114 w 9154885"/>
                    <a:gd name="connsiteY41" fmla="*/ 933752 h 3383038"/>
                    <a:gd name="connsiteX42" fmla="*/ 4245428 w 9154885"/>
                    <a:gd name="connsiteY42" fmla="*/ 955523 h 3383038"/>
                    <a:gd name="connsiteX43" fmla="*/ 3374571 w 9154885"/>
                    <a:gd name="connsiteY43" fmla="*/ 1064381 h 3383038"/>
                    <a:gd name="connsiteX44" fmla="*/ 3265714 w 9154885"/>
                    <a:gd name="connsiteY44" fmla="*/ 1129695 h 3383038"/>
                    <a:gd name="connsiteX45" fmla="*/ 3265714 w 9154885"/>
                    <a:gd name="connsiteY45" fmla="*/ 1271209 h 3383038"/>
                    <a:gd name="connsiteX46" fmla="*/ 3614057 w 9154885"/>
                    <a:gd name="connsiteY46" fmla="*/ 1380066 h 3383038"/>
                    <a:gd name="connsiteX47" fmla="*/ 4604657 w 9154885"/>
                    <a:gd name="connsiteY47" fmla="*/ 1597781 h 3383038"/>
                    <a:gd name="connsiteX48" fmla="*/ 5529942 w 9154885"/>
                    <a:gd name="connsiteY48" fmla="*/ 1826381 h 3383038"/>
                    <a:gd name="connsiteX49" fmla="*/ 5867400 w 9154885"/>
                    <a:gd name="connsiteY49" fmla="*/ 1957009 h 3383038"/>
                    <a:gd name="connsiteX50" fmla="*/ 5998028 w 9154885"/>
                    <a:gd name="connsiteY50" fmla="*/ 2076752 h 3383038"/>
                    <a:gd name="connsiteX51" fmla="*/ 5780314 w 9154885"/>
                    <a:gd name="connsiteY51" fmla="*/ 2163838 h 3383038"/>
                    <a:gd name="connsiteX52" fmla="*/ 5236028 w 9154885"/>
                    <a:gd name="connsiteY52" fmla="*/ 2272695 h 3383038"/>
                    <a:gd name="connsiteX53" fmla="*/ 4147457 w 9154885"/>
                    <a:gd name="connsiteY53" fmla="*/ 2370666 h 3383038"/>
                    <a:gd name="connsiteX54" fmla="*/ 3113314 w 9154885"/>
                    <a:gd name="connsiteY54" fmla="*/ 2403323 h 3383038"/>
                    <a:gd name="connsiteX55" fmla="*/ 1915885 w 9154885"/>
                    <a:gd name="connsiteY55" fmla="*/ 2435981 h 3383038"/>
                    <a:gd name="connsiteX56" fmla="*/ 631371 w 9154885"/>
                    <a:gd name="connsiteY56" fmla="*/ 2457752 h 3383038"/>
                    <a:gd name="connsiteX57" fmla="*/ 239485 w 9154885"/>
                    <a:gd name="connsiteY57" fmla="*/ 2479523 h 3383038"/>
                    <a:gd name="connsiteX58" fmla="*/ 32657 w 9154885"/>
                    <a:gd name="connsiteY58" fmla="*/ 2457752 h 3383038"/>
                    <a:gd name="connsiteX59" fmla="*/ 32657 w 9154885"/>
                    <a:gd name="connsiteY59" fmla="*/ 2708123 h 3383038"/>
                    <a:gd name="connsiteX60" fmla="*/ 21771 w 9154885"/>
                    <a:gd name="connsiteY60" fmla="*/ 3121781 h 3383038"/>
                    <a:gd name="connsiteX61" fmla="*/ 0 w 9154885"/>
                    <a:gd name="connsiteY61" fmla="*/ 3383038 h 3383038"/>
                    <a:gd name="connsiteX0" fmla="*/ 0 w 9154885"/>
                    <a:gd name="connsiteY0" fmla="*/ 3381178 h 3381178"/>
                    <a:gd name="connsiteX1" fmla="*/ 740228 w 9154885"/>
                    <a:gd name="connsiteY1" fmla="*/ 3370292 h 3381178"/>
                    <a:gd name="connsiteX2" fmla="*/ 2394857 w 9154885"/>
                    <a:gd name="connsiteY2" fmla="*/ 3326749 h 3381178"/>
                    <a:gd name="connsiteX3" fmla="*/ 3951514 w 9154885"/>
                    <a:gd name="connsiteY3" fmla="*/ 3239663 h 3381178"/>
                    <a:gd name="connsiteX4" fmla="*/ 5431971 w 9154885"/>
                    <a:gd name="connsiteY4" fmla="*/ 3109035 h 3381178"/>
                    <a:gd name="connsiteX5" fmla="*/ 6161314 w 9154885"/>
                    <a:gd name="connsiteY5" fmla="*/ 2978406 h 3381178"/>
                    <a:gd name="connsiteX6" fmla="*/ 6912428 w 9154885"/>
                    <a:gd name="connsiteY6" fmla="*/ 2826006 h 3381178"/>
                    <a:gd name="connsiteX7" fmla="*/ 7456714 w 9154885"/>
                    <a:gd name="connsiteY7" fmla="*/ 2586521 h 3381178"/>
                    <a:gd name="connsiteX8" fmla="*/ 7761514 w 9154885"/>
                    <a:gd name="connsiteY8" fmla="*/ 2325263 h 3381178"/>
                    <a:gd name="connsiteX9" fmla="*/ 7783285 w 9154885"/>
                    <a:gd name="connsiteY9" fmla="*/ 2096663 h 3381178"/>
                    <a:gd name="connsiteX10" fmla="*/ 7707085 w 9154885"/>
                    <a:gd name="connsiteY10" fmla="*/ 1944264 h 3381178"/>
                    <a:gd name="connsiteX11" fmla="*/ 7478485 w 9154885"/>
                    <a:gd name="connsiteY11" fmla="*/ 1813635 h 3381178"/>
                    <a:gd name="connsiteX12" fmla="*/ 7032171 w 9154885"/>
                    <a:gd name="connsiteY12" fmla="*/ 1693892 h 3381178"/>
                    <a:gd name="connsiteX13" fmla="*/ 6313714 w 9154885"/>
                    <a:gd name="connsiteY13" fmla="*/ 1552378 h 3381178"/>
                    <a:gd name="connsiteX14" fmla="*/ 5671457 w 9154885"/>
                    <a:gd name="connsiteY14" fmla="*/ 1432635 h 3381178"/>
                    <a:gd name="connsiteX15" fmla="*/ 5421085 w 9154885"/>
                    <a:gd name="connsiteY15" fmla="*/ 1378206 h 3381178"/>
                    <a:gd name="connsiteX16" fmla="*/ 5170714 w 9154885"/>
                    <a:gd name="connsiteY16" fmla="*/ 1312892 h 3381178"/>
                    <a:gd name="connsiteX17" fmla="*/ 5192485 w 9154885"/>
                    <a:gd name="connsiteY17" fmla="*/ 1280235 h 3381178"/>
                    <a:gd name="connsiteX18" fmla="*/ 5704114 w 9154885"/>
                    <a:gd name="connsiteY18" fmla="*/ 1214921 h 3381178"/>
                    <a:gd name="connsiteX19" fmla="*/ 6890657 w 9154885"/>
                    <a:gd name="connsiteY19" fmla="*/ 1116949 h 3381178"/>
                    <a:gd name="connsiteX20" fmla="*/ 8022770 w 9154885"/>
                    <a:gd name="connsiteY20" fmla="*/ 942778 h 3381178"/>
                    <a:gd name="connsiteX21" fmla="*/ 7761514 w 9154885"/>
                    <a:gd name="connsiteY21" fmla="*/ 659749 h 3381178"/>
                    <a:gd name="connsiteX22" fmla="*/ 6466114 w 9154885"/>
                    <a:gd name="connsiteY22" fmla="*/ 398492 h 3381178"/>
                    <a:gd name="connsiteX23" fmla="*/ 5987142 w 9154885"/>
                    <a:gd name="connsiteY23" fmla="*/ 300521 h 3381178"/>
                    <a:gd name="connsiteX24" fmla="*/ 5976257 w 9154885"/>
                    <a:gd name="connsiteY24" fmla="*/ 256978 h 3381178"/>
                    <a:gd name="connsiteX25" fmla="*/ 6607628 w 9154885"/>
                    <a:gd name="connsiteY25" fmla="*/ 267863 h 3381178"/>
                    <a:gd name="connsiteX26" fmla="*/ 8447314 w 9154885"/>
                    <a:gd name="connsiteY26" fmla="*/ 265351 h 3381178"/>
                    <a:gd name="connsiteX27" fmla="*/ 9154885 w 9154885"/>
                    <a:gd name="connsiteY27" fmla="*/ 253628 h 3381178"/>
                    <a:gd name="connsiteX28" fmla="*/ 9144000 w 9154885"/>
                    <a:gd name="connsiteY28" fmla="*/ 17492 h 3381178"/>
                    <a:gd name="connsiteX29" fmla="*/ 9154885 w 9154885"/>
                    <a:gd name="connsiteY29" fmla="*/ 17492 h 3381178"/>
                    <a:gd name="connsiteX30" fmla="*/ 8414657 w 9154885"/>
                    <a:gd name="connsiteY30" fmla="*/ 6606 h 3381178"/>
                    <a:gd name="connsiteX31" fmla="*/ 7783285 w 9154885"/>
                    <a:gd name="connsiteY31" fmla="*/ 6606 h 3381178"/>
                    <a:gd name="connsiteX32" fmla="*/ 6814457 w 9154885"/>
                    <a:gd name="connsiteY32" fmla="*/ 17492 h 3381178"/>
                    <a:gd name="connsiteX33" fmla="*/ 5867400 w 9154885"/>
                    <a:gd name="connsiteY33" fmla="*/ 28378 h 3381178"/>
                    <a:gd name="connsiteX34" fmla="*/ 5072742 w 9154885"/>
                    <a:gd name="connsiteY34" fmla="*/ 61034 h 3381178"/>
                    <a:gd name="connsiteX35" fmla="*/ 5029200 w 9154885"/>
                    <a:gd name="connsiteY35" fmla="*/ 300521 h 3381178"/>
                    <a:gd name="connsiteX36" fmla="*/ 5932714 w 9154885"/>
                    <a:gd name="connsiteY36" fmla="*/ 529121 h 3381178"/>
                    <a:gd name="connsiteX37" fmla="*/ 6444342 w 9154885"/>
                    <a:gd name="connsiteY37" fmla="*/ 616206 h 3381178"/>
                    <a:gd name="connsiteX38" fmla="*/ 6683828 w 9154885"/>
                    <a:gd name="connsiteY38" fmla="*/ 681521 h 3381178"/>
                    <a:gd name="connsiteX39" fmla="*/ 6574971 w 9154885"/>
                    <a:gd name="connsiteY39" fmla="*/ 768606 h 3381178"/>
                    <a:gd name="connsiteX40" fmla="*/ 5845628 w 9154885"/>
                    <a:gd name="connsiteY40" fmla="*/ 844806 h 3381178"/>
                    <a:gd name="connsiteX41" fmla="*/ 4942114 w 9154885"/>
                    <a:gd name="connsiteY41" fmla="*/ 931892 h 3381178"/>
                    <a:gd name="connsiteX42" fmla="*/ 4245428 w 9154885"/>
                    <a:gd name="connsiteY42" fmla="*/ 953663 h 3381178"/>
                    <a:gd name="connsiteX43" fmla="*/ 3374571 w 9154885"/>
                    <a:gd name="connsiteY43" fmla="*/ 1062521 h 3381178"/>
                    <a:gd name="connsiteX44" fmla="*/ 3265714 w 9154885"/>
                    <a:gd name="connsiteY44" fmla="*/ 1127835 h 3381178"/>
                    <a:gd name="connsiteX45" fmla="*/ 3265714 w 9154885"/>
                    <a:gd name="connsiteY45" fmla="*/ 1269349 h 3381178"/>
                    <a:gd name="connsiteX46" fmla="*/ 3614057 w 9154885"/>
                    <a:gd name="connsiteY46" fmla="*/ 1378206 h 3381178"/>
                    <a:gd name="connsiteX47" fmla="*/ 4604657 w 9154885"/>
                    <a:gd name="connsiteY47" fmla="*/ 1595921 h 3381178"/>
                    <a:gd name="connsiteX48" fmla="*/ 5529942 w 9154885"/>
                    <a:gd name="connsiteY48" fmla="*/ 1824521 h 3381178"/>
                    <a:gd name="connsiteX49" fmla="*/ 5867400 w 9154885"/>
                    <a:gd name="connsiteY49" fmla="*/ 1955149 h 3381178"/>
                    <a:gd name="connsiteX50" fmla="*/ 5998028 w 9154885"/>
                    <a:gd name="connsiteY50" fmla="*/ 2074892 h 3381178"/>
                    <a:gd name="connsiteX51" fmla="*/ 5780314 w 9154885"/>
                    <a:gd name="connsiteY51" fmla="*/ 2161978 h 3381178"/>
                    <a:gd name="connsiteX52" fmla="*/ 5236028 w 9154885"/>
                    <a:gd name="connsiteY52" fmla="*/ 2270835 h 3381178"/>
                    <a:gd name="connsiteX53" fmla="*/ 4147457 w 9154885"/>
                    <a:gd name="connsiteY53" fmla="*/ 2368806 h 3381178"/>
                    <a:gd name="connsiteX54" fmla="*/ 3113314 w 9154885"/>
                    <a:gd name="connsiteY54" fmla="*/ 2401463 h 3381178"/>
                    <a:gd name="connsiteX55" fmla="*/ 1915885 w 9154885"/>
                    <a:gd name="connsiteY55" fmla="*/ 2434121 h 3381178"/>
                    <a:gd name="connsiteX56" fmla="*/ 631371 w 9154885"/>
                    <a:gd name="connsiteY56" fmla="*/ 2455892 h 3381178"/>
                    <a:gd name="connsiteX57" fmla="*/ 239485 w 9154885"/>
                    <a:gd name="connsiteY57" fmla="*/ 2477663 h 3381178"/>
                    <a:gd name="connsiteX58" fmla="*/ 32657 w 9154885"/>
                    <a:gd name="connsiteY58" fmla="*/ 2455892 h 3381178"/>
                    <a:gd name="connsiteX59" fmla="*/ 32657 w 9154885"/>
                    <a:gd name="connsiteY59" fmla="*/ 2706263 h 3381178"/>
                    <a:gd name="connsiteX60" fmla="*/ 21771 w 9154885"/>
                    <a:gd name="connsiteY60" fmla="*/ 3119921 h 3381178"/>
                    <a:gd name="connsiteX61" fmla="*/ 0 w 9154885"/>
                    <a:gd name="connsiteY61" fmla="*/ 3381178 h 3381178"/>
                    <a:gd name="connsiteX0" fmla="*/ 0 w 9164934"/>
                    <a:gd name="connsiteY0" fmla="*/ 3380806 h 3380806"/>
                    <a:gd name="connsiteX1" fmla="*/ 740228 w 9164934"/>
                    <a:gd name="connsiteY1" fmla="*/ 3369920 h 3380806"/>
                    <a:gd name="connsiteX2" fmla="*/ 2394857 w 9164934"/>
                    <a:gd name="connsiteY2" fmla="*/ 3326377 h 3380806"/>
                    <a:gd name="connsiteX3" fmla="*/ 3951514 w 9164934"/>
                    <a:gd name="connsiteY3" fmla="*/ 3239291 h 3380806"/>
                    <a:gd name="connsiteX4" fmla="*/ 5431971 w 9164934"/>
                    <a:gd name="connsiteY4" fmla="*/ 3108663 h 3380806"/>
                    <a:gd name="connsiteX5" fmla="*/ 6161314 w 9164934"/>
                    <a:gd name="connsiteY5" fmla="*/ 2978034 h 3380806"/>
                    <a:gd name="connsiteX6" fmla="*/ 6912428 w 9164934"/>
                    <a:gd name="connsiteY6" fmla="*/ 2825634 h 3380806"/>
                    <a:gd name="connsiteX7" fmla="*/ 7456714 w 9164934"/>
                    <a:gd name="connsiteY7" fmla="*/ 2586149 h 3380806"/>
                    <a:gd name="connsiteX8" fmla="*/ 7761514 w 9164934"/>
                    <a:gd name="connsiteY8" fmla="*/ 2324891 h 3380806"/>
                    <a:gd name="connsiteX9" fmla="*/ 7783285 w 9164934"/>
                    <a:gd name="connsiteY9" fmla="*/ 2096291 h 3380806"/>
                    <a:gd name="connsiteX10" fmla="*/ 7707085 w 9164934"/>
                    <a:gd name="connsiteY10" fmla="*/ 1943892 h 3380806"/>
                    <a:gd name="connsiteX11" fmla="*/ 7478485 w 9164934"/>
                    <a:gd name="connsiteY11" fmla="*/ 1813263 h 3380806"/>
                    <a:gd name="connsiteX12" fmla="*/ 7032171 w 9164934"/>
                    <a:gd name="connsiteY12" fmla="*/ 1693520 h 3380806"/>
                    <a:gd name="connsiteX13" fmla="*/ 6313714 w 9164934"/>
                    <a:gd name="connsiteY13" fmla="*/ 1552006 h 3380806"/>
                    <a:gd name="connsiteX14" fmla="*/ 5671457 w 9164934"/>
                    <a:gd name="connsiteY14" fmla="*/ 1432263 h 3380806"/>
                    <a:gd name="connsiteX15" fmla="*/ 5421085 w 9164934"/>
                    <a:gd name="connsiteY15" fmla="*/ 1377834 h 3380806"/>
                    <a:gd name="connsiteX16" fmla="*/ 5170714 w 9164934"/>
                    <a:gd name="connsiteY16" fmla="*/ 1312520 h 3380806"/>
                    <a:gd name="connsiteX17" fmla="*/ 5192485 w 9164934"/>
                    <a:gd name="connsiteY17" fmla="*/ 1279863 h 3380806"/>
                    <a:gd name="connsiteX18" fmla="*/ 5704114 w 9164934"/>
                    <a:gd name="connsiteY18" fmla="*/ 1214549 h 3380806"/>
                    <a:gd name="connsiteX19" fmla="*/ 6890657 w 9164934"/>
                    <a:gd name="connsiteY19" fmla="*/ 1116577 h 3380806"/>
                    <a:gd name="connsiteX20" fmla="*/ 8022770 w 9164934"/>
                    <a:gd name="connsiteY20" fmla="*/ 942406 h 3380806"/>
                    <a:gd name="connsiteX21" fmla="*/ 7761514 w 9164934"/>
                    <a:gd name="connsiteY21" fmla="*/ 659377 h 3380806"/>
                    <a:gd name="connsiteX22" fmla="*/ 6466114 w 9164934"/>
                    <a:gd name="connsiteY22" fmla="*/ 398120 h 3380806"/>
                    <a:gd name="connsiteX23" fmla="*/ 5987142 w 9164934"/>
                    <a:gd name="connsiteY23" fmla="*/ 300149 h 3380806"/>
                    <a:gd name="connsiteX24" fmla="*/ 5976257 w 9164934"/>
                    <a:gd name="connsiteY24" fmla="*/ 256606 h 3380806"/>
                    <a:gd name="connsiteX25" fmla="*/ 6607628 w 9164934"/>
                    <a:gd name="connsiteY25" fmla="*/ 267491 h 3380806"/>
                    <a:gd name="connsiteX26" fmla="*/ 8447314 w 9164934"/>
                    <a:gd name="connsiteY26" fmla="*/ 264979 h 3380806"/>
                    <a:gd name="connsiteX27" fmla="*/ 9164934 w 9164934"/>
                    <a:gd name="connsiteY27" fmla="*/ 248232 h 3380806"/>
                    <a:gd name="connsiteX28" fmla="*/ 9144000 w 9164934"/>
                    <a:gd name="connsiteY28" fmla="*/ 17120 h 3380806"/>
                    <a:gd name="connsiteX29" fmla="*/ 9154885 w 9164934"/>
                    <a:gd name="connsiteY29" fmla="*/ 17120 h 3380806"/>
                    <a:gd name="connsiteX30" fmla="*/ 8414657 w 9164934"/>
                    <a:gd name="connsiteY30" fmla="*/ 6234 h 3380806"/>
                    <a:gd name="connsiteX31" fmla="*/ 7783285 w 9164934"/>
                    <a:gd name="connsiteY31" fmla="*/ 6234 h 3380806"/>
                    <a:gd name="connsiteX32" fmla="*/ 6814457 w 9164934"/>
                    <a:gd name="connsiteY32" fmla="*/ 17120 h 3380806"/>
                    <a:gd name="connsiteX33" fmla="*/ 5867400 w 9164934"/>
                    <a:gd name="connsiteY33" fmla="*/ 28006 h 3380806"/>
                    <a:gd name="connsiteX34" fmla="*/ 5072742 w 9164934"/>
                    <a:gd name="connsiteY34" fmla="*/ 60662 h 3380806"/>
                    <a:gd name="connsiteX35" fmla="*/ 5029200 w 9164934"/>
                    <a:gd name="connsiteY35" fmla="*/ 300149 h 3380806"/>
                    <a:gd name="connsiteX36" fmla="*/ 5932714 w 9164934"/>
                    <a:gd name="connsiteY36" fmla="*/ 528749 h 3380806"/>
                    <a:gd name="connsiteX37" fmla="*/ 6444342 w 9164934"/>
                    <a:gd name="connsiteY37" fmla="*/ 615834 h 3380806"/>
                    <a:gd name="connsiteX38" fmla="*/ 6683828 w 9164934"/>
                    <a:gd name="connsiteY38" fmla="*/ 681149 h 3380806"/>
                    <a:gd name="connsiteX39" fmla="*/ 6574971 w 9164934"/>
                    <a:gd name="connsiteY39" fmla="*/ 768234 h 3380806"/>
                    <a:gd name="connsiteX40" fmla="*/ 5845628 w 9164934"/>
                    <a:gd name="connsiteY40" fmla="*/ 844434 h 3380806"/>
                    <a:gd name="connsiteX41" fmla="*/ 4942114 w 9164934"/>
                    <a:gd name="connsiteY41" fmla="*/ 931520 h 3380806"/>
                    <a:gd name="connsiteX42" fmla="*/ 4245428 w 9164934"/>
                    <a:gd name="connsiteY42" fmla="*/ 953291 h 3380806"/>
                    <a:gd name="connsiteX43" fmla="*/ 3374571 w 9164934"/>
                    <a:gd name="connsiteY43" fmla="*/ 1062149 h 3380806"/>
                    <a:gd name="connsiteX44" fmla="*/ 3265714 w 9164934"/>
                    <a:gd name="connsiteY44" fmla="*/ 1127463 h 3380806"/>
                    <a:gd name="connsiteX45" fmla="*/ 3265714 w 9164934"/>
                    <a:gd name="connsiteY45" fmla="*/ 1268977 h 3380806"/>
                    <a:gd name="connsiteX46" fmla="*/ 3614057 w 9164934"/>
                    <a:gd name="connsiteY46" fmla="*/ 1377834 h 3380806"/>
                    <a:gd name="connsiteX47" fmla="*/ 4604657 w 9164934"/>
                    <a:gd name="connsiteY47" fmla="*/ 1595549 h 3380806"/>
                    <a:gd name="connsiteX48" fmla="*/ 5529942 w 9164934"/>
                    <a:gd name="connsiteY48" fmla="*/ 1824149 h 3380806"/>
                    <a:gd name="connsiteX49" fmla="*/ 5867400 w 9164934"/>
                    <a:gd name="connsiteY49" fmla="*/ 1954777 h 3380806"/>
                    <a:gd name="connsiteX50" fmla="*/ 5998028 w 9164934"/>
                    <a:gd name="connsiteY50" fmla="*/ 2074520 h 3380806"/>
                    <a:gd name="connsiteX51" fmla="*/ 5780314 w 9164934"/>
                    <a:gd name="connsiteY51" fmla="*/ 2161606 h 3380806"/>
                    <a:gd name="connsiteX52" fmla="*/ 5236028 w 9164934"/>
                    <a:gd name="connsiteY52" fmla="*/ 2270463 h 3380806"/>
                    <a:gd name="connsiteX53" fmla="*/ 4147457 w 9164934"/>
                    <a:gd name="connsiteY53" fmla="*/ 2368434 h 3380806"/>
                    <a:gd name="connsiteX54" fmla="*/ 3113314 w 9164934"/>
                    <a:gd name="connsiteY54" fmla="*/ 2401091 h 3380806"/>
                    <a:gd name="connsiteX55" fmla="*/ 1915885 w 9164934"/>
                    <a:gd name="connsiteY55" fmla="*/ 2433749 h 3380806"/>
                    <a:gd name="connsiteX56" fmla="*/ 631371 w 9164934"/>
                    <a:gd name="connsiteY56" fmla="*/ 2455520 h 3380806"/>
                    <a:gd name="connsiteX57" fmla="*/ 239485 w 9164934"/>
                    <a:gd name="connsiteY57" fmla="*/ 2477291 h 3380806"/>
                    <a:gd name="connsiteX58" fmla="*/ 32657 w 9164934"/>
                    <a:gd name="connsiteY58" fmla="*/ 2455520 h 3380806"/>
                    <a:gd name="connsiteX59" fmla="*/ 32657 w 9164934"/>
                    <a:gd name="connsiteY59" fmla="*/ 2705891 h 3380806"/>
                    <a:gd name="connsiteX60" fmla="*/ 21771 w 9164934"/>
                    <a:gd name="connsiteY60" fmla="*/ 3119549 h 3380806"/>
                    <a:gd name="connsiteX61" fmla="*/ 0 w 9164934"/>
                    <a:gd name="connsiteY61" fmla="*/ 3380806 h 3380806"/>
                    <a:gd name="connsiteX0" fmla="*/ 0 w 9164934"/>
                    <a:gd name="connsiteY0" fmla="*/ 3380806 h 3380806"/>
                    <a:gd name="connsiteX1" fmla="*/ 740228 w 9164934"/>
                    <a:gd name="connsiteY1" fmla="*/ 3369920 h 3380806"/>
                    <a:gd name="connsiteX2" fmla="*/ 2394857 w 9164934"/>
                    <a:gd name="connsiteY2" fmla="*/ 3326377 h 3380806"/>
                    <a:gd name="connsiteX3" fmla="*/ 3951514 w 9164934"/>
                    <a:gd name="connsiteY3" fmla="*/ 3239291 h 3380806"/>
                    <a:gd name="connsiteX4" fmla="*/ 5431971 w 9164934"/>
                    <a:gd name="connsiteY4" fmla="*/ 3108663 h 3380806"/>
                    <a:gd name="connsiteX5" fmla="*/ 6161314 w 9164934"/>
                    <a:gd name="connsiteY5" fmla="*/ 2978034 h 3380806"/>
                    <a:gd name="connsiteX6" fmla="*/ 6912428 w 9164934"/>
                    <a:gd name="connsiteY6" fmla="*/ 2825634 h 3380806"/>
                    <a:gd name="connsiteX7" fmla="*/ 7456714 w 9164934"/>
                    <a:gd name="connsiteY7" fmla="*/ 2586149 h 3380806"/>
                    <a:gd name="connsiteX8" fmla="*/ 7761514 w 9164934"/>
                    <a:gd name="connsiteY8" fmla="*/ 2324891 h 3380806"/>
                    <a:gd name="connsiteX9" fmla="*/ 7783285 w 9164934"/>
                    <a:gd name="connsiteY9" fmla="*/ 2096291 h 3380806"/>
                    <a:gd name="connsiteX10" fmla="*/ 7707085 w 9164934"/>
                    <a:gd name="connsiteY10" fmla="*/ 1943892 h 3380806"/>
                    <a:gd name="connsiteX11" fmla="*/ 7478485 w 9164934"/>
                    <a:gd name="connsiteY11" fmla="*/ 1813263 h 3380806"/>
                    <a:gd name="connsiteX12" fmla="*/ 7032171 w 9164934"/>
                    <a:gd name="connsiteY12" fmla="*/ 1693520 h 3380806"/>
                    <a:gd name="connsiteX13" fmla="*/ 6313714 w 9164934"/>
                    <a:gd name="connsiteY13" fmla="*/ 1552006 h 3380806"/>
                    <a:gd name="connsiteX14" fmla="*/ 5671457 w 9164934"/>
                    <a:gd name="connsiteY14" fmla="*/ 1432263 h 3380806"/>
                    <a:gd name="connsiteX15" fmla="*/ 5421085 w 9164934"/>
                    <a:gd name="connsiteY15" fmla="*/ 1377834 h 3380806"/>
                    <a:gd name="connsiteX16" fmla="*/ 5170714 w 9164934"/>
                    <a:gd name="connsiteY16" fmla="*/ 1312520 h 3380806"/>
                    <a:gd name="connsiteX17" fmla="*/ 5192485 w 9164934"/>
                    <a:gd name="connsiteY17" fmla="*/ 1279863 h 3380806"/>
                    <a:gd name="connsiteX18" fmla="*/ 5704114 w 9164934"/>
                    <a:gd name="connsiteY18" fmla="*/ 1214549 h 3380806"/>
                    <a:gd name="connsiteX19" fmla="*/ 6890657 w 9164934"/>
                    <a:gd name="connsiteY19" fmla="*/ 1116577 h 3380806"/>
                    <a:gd name="connsiteX20" fmla="*/ 8022770 w 9164934"/>
                    <a:gd name="connsiteY20" fmla="*/ 942406 h 3380806"/>
                    <a:gd name="connsiteX21" fmla="*/ 7761514 w 9164934"/>
                    <a:gd name="connsiteY21" fmla="*/ 659377 h 3380806"/>
                    <a:gd name="connsiteX22" fmla="*/ 6466114 w 9164934"/>
                    <a:gd name="connsiteY22" fmla="*/ 398120 h 3380806"/>
                    <a:gd name="connsiteX23" fmla="*/ 5987142 w 9164934"/>
                    <a:gd name="connsiteY23" fmla="*/ 300149 h 3380806"/>
                    <a:gd name="connsiteX24" fmla="*/ 5976257 w 9164934"/>
                    <a:gd name="connsiteY24" fmla="*/ 256606 h 3380806"/>
                    <a:gd name="connsiteX25" fmla="*/ 6607628 w 9164934"/>
                    <a:gd name="connsiteY25" fmla="*/ 267491 h 3380806"/>
                    <a:gd name="connsiteX26" fmla="*/ 8447314 w 9164934"/>
                    <a:gd name="connsiteY26" fmla="*/ 264979 h 3380806"/>
                    <a:gd name="connsiteX27" fmla="*/ 9164934 w 9164934"/>
                    <a:gd name="connsiteY27" fmla="*/ 248232 h 3380806"/>
                    <a:gd name="connsiteX28" fmla="*/ 9144000 w 9164934"/>
                    <a:gd name="connsiteY28" fmla="*/ 17120 h 3380806"/>
                    <a:gd name="connsiteX29" fmla="*/ 9154885 w 9164934"/>
                    <a:gd name="connsiteY29" fmla="*/ 17120 h 3380806"/>
                    <a:gd name="connsiteX30" fmla="*/ 8414657 w 9164934"/>
                    <a:gd name="connsiteY30" fmla="*/ 6234 h 3380806"/>
                    <a:gd name="connsiteX31" fmla="*/ 7783285 w 9164934"/>
                    <a:gd name="connsiteY31" fmla="*/ 6234 h 3380806"/>
                    <a:gd name="connsiteX32" fmla="*/ 6814457 w 9164934"/>
                    <a:gd name="connsiteY32" fmla="*/ 17120 h 3380806"/>
                    <a:gd name="connsiteX33" fmla="*/ 5867400 w 9164934"/>
                    <a:gd name="connsiteY33" fmla="*/ 28006 h 3380806"/>
                    <a:gd name="connsiteX34" fmla="*/ 5072742 w 9164934"/>
                    <a:gd name="connsiteY34" fmla="*/ 60662 h 3380806"/>
                    <a:gd name="connsiteX35" fmla="*/ 5029200 w 9164934"/>
                    <a:gd name="connsiteY35" fmla="*/ 300149 h 3380806"/>
                    <a:gd name="connsiteX36" fmla="*/ 5932714 w 9164934"/>
                    <a:gd name="connsiteY36" fmla="*/ 528749 h 3380806"/>
                    <a:gd name="connsiteX37" fmla="*/ 6444342 w 9164934"/>
                    <a:gd name="connsiteY37" fmla="*/ 615834 h 3380806"/>
                    <a:gd name="connsiteX38" fmla="*/ 6683828 w 9164934"/>
                    <a:gd name="connsiteY38" fmla="*/ 681149 h 3380806"/>
                    <a:gd name="connsiteX39" fmla="*/ 6574971 w 9164934"/>
                    <a:gd name="connsiteY39" fmla="*/ 768234 h 3380806"/>
                    <a:gd name="connsiteX40" fmla="*/ 5845628 w 9164934"/>
                    <a:gd name="connsiteY40" fmla="*/ 844434 h 3380806"/>
                    <a:gd name="connsiteX41" fmla="*/ 4942114 w 9164934"/>
                    <a:gd name="connsiteY41" fmla="*/ 931520 h 3380806"/>
                    <a:gd name="connsiteX42" fmla="*/ 4245428 w 9164934"/>
                    <a:gd name="connsiteY42" fmla="*/ 953291 h 3380806"/>
                    <a:gd name="connsiteX43" fmla="*/ 3374571 w 9164934"/>
                    <a:gd name="connsiteY43" fmla="*/ 1062149 h 3380806"/>
                    <a:gd name="connsiteX44" fmla="*/ 3265714 w 9164934"/>
                    <a:gd name="connsiteY44" fmla="*/ 1127463 h 3380806"/>
                    <a:gd name="connsiteX45" fmla="*/ 3265714 w 9164934"/>
                    <a:gd name="connsiteY45" fmla="*/ 1268977 h 3380806"/>
                    <a:gd name="connsiteX46" fmla="*/ 3614057 w 9164934"/>
                    <a:gd name="connsiteY46" fmla="*/ 1377834 h 3380806"/>
                    <a:gd name="connsiteX47" fmla="*/ 4604657 w 9164934"/>
                    <a:gd name="connsiteY47" fmla="*/ 1595549 h 3380806"/>
                    <a:gd name="connsiteX48" fmla="*/ 5529942 w 9164934"/>
                    <a:gd name="connsiteY48" fmla="*/ 1824149 h 3380806"/>
                    <a:gd name="connsiteX49" fmla="*/ 5867400 w 9164934"/>
                    <a:gd name="connsiteY49" fmla="*/ 1954777 h 3380806"/>
                    <a:gd name="connsiteX50" fmla="*/ 5998028 w 9164934"/>
                    <a:gd name="connsiteY50" fmla="*/ 2074520 h 3380806"/>
                    <a:gd name="connsiteX51" fmla="*/ 5780314 w 9164934"/>
                    <a:gd name="connsiteY51" fmla="*/ 2161606 h 3380806"/>
                    <a:gd name="connsiteX52" fmla="*/ 5236028 w 9164934"/>
                    <a:gd name="connsiteY52" fmla="*/ 2270463 h 3380806"/>
                    <a:gd name="connsiteX53" fmla="*/ 4147457 w 9164934"/>
                    <a:gd name="connsiteY53" fmla="*/ 2368434 h 3380806"/>
                    <a:gd name="connsiteX54" fmla="*/ 3113314 w 9164934"/>
                    <a:gd name="connsiteY54" fmla="*/ 2401091 h 3380806"/>
                    <a:gd name="connsiteX55" fmla="*/ 1915885 w 9164934"/>
                    <a:gd name="connsiteY55" fmla="*/ 2433749 h 3380806"/>
                    <a:gd name="connsiteX56" fmla="*/ 631371 w 9164934"/>
                    <a:gd name="connsiteY56" fmla="*/ 2455520 h 3380806"/>
                    <a:gd name="connsiteX57" fmla="*/ 239485 w 9164934"/>
                    <a:gd name="connsiteY57" fmla="*/ 2477291 h 3380806"/>
                    <a:gd name="connsiteX58" fmla="*/ 32657 w 9164934"/>
                    <a:gd name="connsiteY58" fmla="*/ 2455520 h 3380806"/>
                    <a:gd name="connsiteX59" fmla="*/ 32657 w 9164934"/>
                    <a:gd name="connsiteY59" fmla="*/ 2705891 h 3380806"/>
                    <a:gd name="connsiteX60" fmla="*/ 21771 w 9164934"/>
                    <a:gd name="connsiteY60" fmla="*/ 3119549 h 3380806"/>
                    <a:gd name="connsiteX61" fmla="*/ 0 w 9164934"/>
                    <a:gd name="connsiteY61" fmla="*/ 3380806 h 3380806"/>
                    <a:gd name="connsiteX0" fmla="*/ 0 w 9164934"/>
                    <a:gd name="connsiteY0" fmla="*/ 3464169 h 3464169"/>
                    <a:gd name="connsiteX1" fmla="*/ 740228 w 9164934"/>
                    <a:gd name="connsiteY1" fmla="*/ 3453283 h 3464169"/>
                    <a:gd name="connsiteX2" fmla="*/ 2394857 w 9164934"/>
                    <a:gd name="connsiteY2" fmla="*/ 3409740 h 3464169"/>
                    <a:gd name="connsiteX3" fmla="*/ 3951514 w 9164934"/>
                    <a:gd name="connsiteY3" fmla="*/ 3322654 h 3464169"/>
                    <a:gd name="connsiteX4" fmla="*/ 5431971 w 9164934"/>
                    <a:gd name="connsiteY4" fmla="*/ 3192026 h 3464169"/>
                    <a:gd name="connsiteX5" fmla="*/ 6161314 w 9164934"/>
                    <a:gd name="connsiteY5" fmla="*/ 3061397 h 3464169"/>
                    <a:gd name="connsiteX6" fmla="*/ 6912428 w 9164934"/>
                    <a:gd name="connsiteY6" fmla="*/ 2908997 h 3464169"/>
                    <a:gd name="connsiteX7" fmla="*/ 7456714 w 9164934"/>
                    <a:gd name="connsiteY7" fmla="*/ 2669512 h 3464169"/>
                    <a:gd name="connsiteX8" fmla="*/ 7761514 w 9164934"/>
                    <a:gd name="connsiteY8" fmla="*/ 2408254 h 3464169"/>
                    <a:gd name="connsiteX9" fmla="*/ 7783285 w 9164934"/>
                    <a:gd name="connsiteY9" fmla="*/ 2179654 h 3464169"/>
                    <a:gd name="connsiteX10" fmla="*/ 7707085 w 9164934"/>
                    <a:gd name="connsiteY10" fmla="*/ 2027255 h 3464169"/>
                    <a:gd name="connsiteX11" fmla="*/ 7478485 w 9164934"/>
                    <a:gd name="connsiteY11" fmla="*/ 1896626 h 3464169"/>
                    <a:gd name="connsiteX12" fmla="*/ 7032171 w 9164934"/>
                    <a:gd name="connsiteY12" fmla="*/ 1776883 h 3464169"/>
                    <a:gd name="connsiteX13" fmla="*/ 6313714 w 9164934"/>
                    <a:gd name="connsiteY13" fmla="*/ 1635369 h 3464169"/>
                    <a:gd name="connsiteX14" fmla="*/ 5671457 w 9164934"/>
                    <a:gd name="connsiteY14" fmla="*/ 1515626 h 3464169"/>
                    <a:gd name="connsiteX15" fmla="*/ 5421085 w 9164934"/>
                    <a:gd name="connsiteY15" fmla="*/ 1461197 h 3464169"/>
                    <a:gd name="connsiteX16" fmla="*/ 5170714 w 9164934"/>
                    <a:gd name="connsiteY16" fmla="*/ 1395883 h 3464169"/>
                    <a:gd name="connsiteX17" fmla="*/ 5192485 w 9164934"/>
                    <a:gd name="connsiteY17" fmla="*/ 1363226 h 3464169"/>
                    <a:gd name="connsiteX18" fmla="*/ 5704114 w 9164934"/>
                    <a:gd name="connsiteY18" fmla="*/ 1297912 h 3464169"/>
                    <a:gd name="connsiteX19" fmla="*/ 6890657 w 9164934"/>
                    <a:gd name="connsiteY19" fmla="*/ 1199940 h 3464169"/>
                    <a:gd name="connsiteX20" fmla="*/ 8022770 w 9164934"/>
                    <a:gd name="connsiteY20" fmla="*/ 1025769 h 3464169"/>
                    <a:gd name="connsiteX21" fmla="*/ 7761514 w 9164934"/>
                    <a:gd name="connsiteY21" fmla="*/ 742740 h 3464169"/>
                    <a:gd name="connsiteX22" fmla="*/ 6466114 w 9164934"/>
                    <a:gd name="connsiteY22" fmla="*/ 481483 h 3464169"/>
                    <a:gd name="connsiteX23" fmla="*/ 5987142 w 9164934"/>
                    <a:gd name="connsiteY23" fmla="*/ 383512 h 3464169"/>
                    <a:gd name="connsiteX24" fmla="*/ 5976257 w 9164934"/>
                    <a:gd name="connsiteY24" fmla="*/ 339969 h 3464169"/>
                    <a:gd name="connsiteX25" fmla="*/ 6607628 w 9164934"/>
                    <a:gd name="connsiteY25" fmla="*/ 350854 h 3464169"/>
                    <a:gd name="connsiteX26" fmla="*/ 8447314 w 9164934"/>
                    <a:gd name="connsiteY26" fmla="*/ 348342 h 3464169"/>
                    <a:gd name="connsiteX27" fmla="*/ 9164934 w 9164934"/>
                    <a:gd name="connsiteY27" fmla="*/ 331595 h 3464169"/>
                    <a:gd name="connsiteX28" fmla="*/ 9144000 w 9164934"/>
                    <a:gd name="connsiteY28" fmla="*/ 100483 h 3464169"/>
                    <a:gd name="connsiteX29" fmla="*/ 9099619 w 9164934"/>
                    <a:gd name="connsiteY29" fmla="*/ 0 h 3464169"/>
                    <a:gd name="connsiteX30" fmla="*/ 8414657 w 9164934"/>
                    <a:gd name="connsiteY30" fmla="*/ 89597 h 3464169"/>
                    <a:gd name="connsiteX31" fmla="*/ 7783285 w 9164934"/>
                    <a:gd name="connsiteY31" fmla="*/ 89597 h 3464169"/>
                    <a:gd name="connsiteX32" fmla="*/ 6814457 w 9164934"/>
                    <a:gd name="connsiteY32" fmla="*/ 100483 h 3464169"/>
                    <a:gd name="connsiteX33" fmla="*/ 5867400 w 9164934"/>
                    <a:gd name="connsiteY33" fmla="*/ 111369 h 3464169"/>
                    <a:gd name="connsiteX34" fmla="*/ 5072742 w 9164934"/>
                    <a:gd name="connsiteY34" fmla="*/ 144025 h 3464169"/>
                    <a:gd name="connsiteX35" fmla="*/ 5029200 w 9164934"/>
                    <a:gd name="connsiteY35" fmla="*/ 383512 h 3464169"/>
                    <a:gd name="connsiteX36" fmla="*/ 5932714 w 9164934"/>
                    <a:gd name="connsiteY36" fmla="*/ 612112 h 3464169"/>
                    <a:gd name="connsiteX37" fmla="*/ 6444342 w 9164934"/>
                    <a:gd name="connsiteY37" fmla="*/ 699197 h 3464169"/>
                    <a:gd name="connsiteX38" fmla="*/ 6683828 w 9164934"/>
                    <a:gd name="connsiteY38" fmla="*/ 764512 h 3464169"/>
                    <a:gd name="connsiteX39" fmla="*/ 6574971 w 9164934"/>
                    <a:gd name="connsiteY39" fmla="*/ 851597 h 3464169"/>
                    <a:gd name="connsiteX40" fmla="*/ 5845628 w 9164934"/>
                    <a:gd name="connsiteY40" fmla="*/ 927797 h 3464169"/>
                    <a:gd name="connsiteX41" fmla="*/ 4942114 w 9164934"/>
                    <a:gd name="connsiteY41" fmla="*/ 1014883 h 3464169"/>
                    <a:gd name="connsiteX42" fmla="*/ 4245428 w 9164934"/>
                    <a:gd name="connsiteY42" fmla="*/ 1036654 h 3464169"/>
                    <a:gd name="connsiteX43" fmla="*/ 3374571 w 9164934"/>
                    <a:gd name="connsiteY43" fmla="*/ 1145512 h 3464169"/>
                    <a:gd name="connsiteX44" fmla="*/ 3265714 w 9164934"/>
                    <a:gd name="connsiteY44" fmla="*/ 1210826 h 3464169"/>
                    <a:gd name="connsiteX45" fmla="*/ 3265714 w 9164934"/>
                    <a:gd name="connsiteY45" fmla="*/ 1352340 h 3464169"/>
                    <a:gd name="connsiteX46" fmla="*/ 3614057 w 9164934"/>
                    <a:gd name="connsiteY46" fmla="*/ 1461197 h 3464169"/>
                    <a:gd name="connsiteX47" fmla="*/ 4604657 w 9164934"/>
                    <a:gd name="connsiteY47" fmla="*/ 1678912 h 3464169"/>
                    <a:gd name="connsiteX48" fmla="*/ 5529942 w 9164934"/>
                    <a:gd name="connsiteY48" fmla="*/ 1907512 h 3464169"/>
                    <a:gd name="connsiteX49" fmla="*/ 5867400 w 9164934"/>
                    <a:gd name="connsiteY49" fmla="*/ 2038140 h 3464169"/>
                    <a:gd name="connsiteX50" fmla="*/ 5998028 w 9164934"/>
                    <a:gd name="connsiteY50" fmla="*/ 2157883 h 3464169"/>
                    <a:gd name="connsiteX51" fmla="*/ 5780314 w 9164934"/>
                    <a:gd name="connsiteY51" fmla="*/ 2244969 h 3464169"/>
                    <a:gd name="connsiteX52" fmla="*/ 5236028 w 9164934"/>
                    <a:gd name="connsiteY52" fmla="*/ 2353826 h 3464169"/>
                    <a:gd name="connsiteX53" fmla="*/ 4147457 w 9164934"/>
                    <a:gd name="connsiteY53" fmla="*/ 2451797 h 3464169"/>
                    <a:gd name="connsiteX54" fmla="*/ 3113314 w 9164934"/>
                    <a:gd name="connsiteY54" fmla="*/ 2484454 h 3464169"/>
                    <a:gd name="connsiteX55" fmla="*/ 1915885 w 9164934"/>
                    <a:gd name="connsiteY55" fmla="*/ 2517112 h 3464169"/>
                    <a:gd name="connsiteX56" fmla="*/ 631371 w 9164934"/>
                    <a:gd name="connsiteY56" fmla="*/ 2538883 h 3464169"/>
                    <a:gd name="connsiteX57" fmla="*/ 239485 w 9164934"/>
                    <a:gd name="connsiteY57" fmla="*/ 2560654 h 3464169"/>
                    <a:gd name="connsiteX58" fmla="*/ 32657 w 9164934"/>
                    <a:gd name="connsiteY58" fmla="*/ 2538883 h 3464169"/>
                    <a:gd name="connsiteX59" fmla="*/ 32657 w 9164934"/>
                    <a:gd name="connsiteY59" fmla="*/ 2789254 h 3464169"/>
                    <a:gd name="connsiteX60" fmla="*/ 21771 w 9164934"/>
                    <a:gd name="connsiteY60" fmla="*/ 3202912 h 3464169"/>
                    <a:gd name="connsiteX61" fmla="*/ 0 w 9164934"/>
                    <a:gd name="connsiteY61" fmla="*/ 3464169 h 3464169"/>
                    <a:gd name="connsiteX0" fmla="*/ 0 w 9164934"/>
                    <a:gd name="connsiteY0" fmla="*/ 3464169 h 3464169"/>
                    <a:gd name="connsiteX1" fmla="*/ 740228 w 9164934"/>
                    <a:gd name="connsiteY1" fmla="*/ 3453283 h 3464169"/>
                    <a:gd name="connsiteX2" fmla="*/ 2394857 w 9164934"/>
                    <a:gd name="connsiteY2" fmla="*/ 3409740 h 3464169"/>
                    <a:gd name="connsiteX3" fmla="*/ 3951514 w 9164934"/>
                    <a:gd name="connsiteY3" fmla="*/ 3322654 h 3464169"/>
                    <a:gd name="connsiteX4" fmla="*/ 5431971 w 9164934"/>
                    <a:gd name="connsiteY4" fmla="*/ 3192026 h 3464169"/>
                    <a:gd name="connsiteX5" fmla="*/ 6161314 w 9164934"/>
                    <a:gd name="connsiteY5" fmla="*/ 3061397 h 3464169"/>
                    <a:gd name="connsiteX6" fmla="*/ 6912428 w 9164934"/>
                    <a:gd name="connsiteY6" fmla="*/ 2908997 h 3464169"/>
                    <a:gd name="connsiteX7" fmla="*/ 7456714 w 9164934"/>
                    <a:gd name="connsiteY7" fmla="*/ 2669512 h 3464169"/>
                    <a:gd name="connsiteX8" fmla="*/ 7761514 w 9164934"/>
                    <a:gd name="connsiteY8" fmla="*/ 2408254 h 3464169"/>
                    <a:gd name="connsiteX9" fmla="*/ 7783285 w 9164934"/>
                    <a:gd name="connsiteY9" fmla="*/ 2179654 h 3464169"/>
                    <a:gd name="connsiteX10" fmla="*/ 7707085 w 9164934"/>
                    <a:gd name="connsiteY10" fmla="*/ 2027255 h 3464169"/>
                    <a:gd name="connsiteX11" fmla="*/ 7478485 w 9164934"/>
                    <a:gd name="connsiteY11" fmla="*/ 1896626 h 3464169"/>
                    <a:gd name="connsiteX12" fmla="*/ 7032171 w 9164934"/>
                    <a:gd name="connsiteY12" fmla="*/ 1776883 h 3464169"/>
                    <a:gd name="connsiteX13" fmla="*/ 6313714 w 9164934"/>
                    <a:gd name="connsiteY13" fmla="*/ 1635369 h 3464169"/>
                    <a:gd name="connsiteX14" fmla="*/ 5671457 w 9164934"/>
                    <a:gd name="connsiteY14" fmla="*/ 1515626 h 3464169"/>
                    <a:gd name="connsiteX15" fmla="*/ 5421085 w 9164934"/>
                    <a:gd name="connsiteY15" fmla="*/ 1461197 h 3464169"/>
                    <a:gd name="connsiteX16" fmla="*/ 5170714 w 9164934"/>
                    <a:gd name="connsiteY16" fmla="*/ 1395883 h 3464169"/>
                    <a:gd name="connsiteX17" fmla="*/ 5192485 w 9164934"/>
                    <a:gd name="connsiteY17" fmla="*/ 1363226 h 3464169"/>
                    <a:gd name="connsiteX18" fmla="*/ 5704114 w 9164934"/>
                    <a:gd name="connsiteY18" fmla="*/ 1297912 h 3464169"/>
                    <a:gd name="connsiteX19" fmla="*/ 6890657 w 9164934"/>
                    <a:gd name="connsiteY19" fmla="*/ 1199940 h 3464169"/>
                    <a:gd name="connsiteX20" fmla="*/ 8022770 w 9164934"/>
                    <a:gd name="connsiteY20" fmla="*/ 1025769 h 3464169"/>
                    <a:gd name="connsiteX21" fmla="*/ 7761514 w 9164934"/>
                    <a:gd name="connsiteY21" fmla="*/ 742740 h 3464169"/>
                    <a:gd name="connsiteX22" fmla="*/ 6466114 w 9164934"/>
                    <a:gd name="connsiteY22" fmla="*/ 481483 h 3464169"/>
                    <a:gd name="connsiteX23" fmla="*/ 5987142 w 9164934"/>
                    <a:gd name="connsiteY23" fmla="*/ 383512 h 3464169"/>
                    <a:gd name="connsiteX24" fmla="*/ 5976257 w 9164934"/>
                    <a:gd name="connsiteY24" fmla="*/ 339969 h 3464169"/>
                    <a:gd name="connsiteX25" fmla="*/ 6607628 w 9164934"/>
                    <a:gd name="connsiteY25" fmla="*/ 350854 h 3464169"/>
                    <a:gd name="connsiteX26" fmla="*/ 8447314 w 9164934"/>
                    <a:gd name="connsiteY26" fmla="*/ 348342 h 3464169"/>
                    <a:gd name="connsiteX27" fmla="*/ 9164934 w 9164934"/>
                    <a:gd name="connsiteY27" fmla="*/ 331595 h 3464169"/>
                    <a:gd name="connsiteX28" fmla="*/ 9149024 w 9164934"/>
                    <a:gd name="connsiteY28" fmla="*/ 100483 h 3464169"/>
                    <a:gd name="connsiteX29" fmla="*/ 9099619 w 9164934"/>
                    <a:gd name="connsiteY29" fmla="*/ 0 h 3464169"/>
                    <a:gd name="connsiteX30" fmla="*/ 8414657 w 9164934"/>
                    <a:gd name="connsiteY30" fmla="*/ 89597 h 3464169"/>
                    <a:gd name="connsiteX31" fmla="*/ 7783285 w 9164934"/>
                    <a:gd name="connsiteY31" fmla="*/ 89597 h 3464169"/>
                    <a:gd name="connsiteX32" fmla="*/ 6814457 w 9164934"/>
                    <a:gd name="connsiteY32" fmla="*/ 100483 h 3464169"/>
                    <a:gd name="connsiteX33" fmla="*/ 5867400 w 9164934"/>
                    <a:gd name="connsiteY33" fmla="*/ 111369 h 3464169"/>
                    <a:gd name="connsiteX34" fmla="*/ 5072742 w 9164934"/>
                    <a:gd name="connsiteY34" fmla="*/ 144025 h 3464169"/>
                    <a:gd name="connsiteX35" fmla="*/ 5029200 w 9164934"/>
                    <a:gd name="connsiteY35" fmla="*/ 383512 h 3464169"/>
                    <a:gd name="connsiteX36" fmla="*/ 5932714 w 9164934"/>
                    <a:gd name="connsiteY36" fmla="*/ 612112 h 3464169"/>
                    <a:gd name="connsiteX37" fmla="*/ 6444342 w 9164934"/>
                    <a:gd name="connsiteY37" fmla="*/ 699197 h 3464169"/>
                    <a:gd name="connsiteX38" fmla="*/ 6683828 w 9164934"/>
                    <a:gd name="connsiteY38" fmla="*/ 764512 h 3464169"/>
                    <a:gd name="connsiteX39" fmla="*/ 6574971 w 9164934"/>
                    <a:gd name="connsiteY39" fmla="*/ 851597 h 3464169"/>
                    <a:gd name="connsiteX40" fmla="*/ 5845628 w 9164934"/>
                    <a:gd name="connsiteY40" fmla="*/ 927797 h 3464169"/>
                    <a:gd name="connsiteX41" fmla="*/ 4942114 w 9164934"/>
                    <a:gd name="connsiteY41" fmla="*/ 1014883 h 3464169"/>
                    <a:gd name="connsiteX42" fmla="*/ 4245428 w 9164934"/>
                    <a:gd name="connsiteY42" fmla="*/ 1036654 h 3464169"/>
                    <a:gd name="connsiteX43" fmla="*/ 3374571 w 9164934"/>
                    <a:gd name="connsiteY43" fmla="*/ 1145512 h 3464169"/>
                    <a:gd name="connsiteX44" fmla="*/ 3265714 w 9164934"/>
                    <a:gd name="connsiteY44" fmla="*/ 1210826 h 3464169"/>
                    <a:gd name="connsiteX45" fmla="*/ 3265714 w 9164934"/>
                    <a:gd name="connsiteY45" fmla="*/ 1352340 h 3464169"/>
                    <a:gd name="connsiteX46" fmla="*/ 3614057 w 9164934"/>
                    <a:gd name="connsiteY46" fmla="*/ 1461197 h 3464169"/>
                    <a:gd name="connsiteX47" fmla="*/ 4604657 w 9164934"/>
                    <a:gd name="connsiteY47" fmla="*/ 1678912 h 3464169"/>
                    <a:gd name="connsiteX48" fmla="*/ 5529942 w 9164934"/>
                    <a:gd name="connsiteY48" fmla="*/ 1907512 h 3464169"/>
                    <a:gd name="connsiteX49" fmla="*/ 5867400 w 9164934"/>
                    <a:gd name="connsiteY49" fmla="*/ 2038140 h 3464169"/>
                    <a:gd name="connsiteX50" fmla="*/ 5998028 w 9164934"/>
                    <a:gd name="connsiteY50" fmla="*/ 2157883 h 3464169"/>
                    <a:gd name="connsiteX51" fmla="*/ 5780314 w 9164934"/>
                    <a:gd name="connsiteY51" fmla="*/ 2244969 h 3464169"/>
                    <a:gd name="connsiteX52" fmla="*/ 5236028 w 9164934"/>
                    <a:gd name="connsiteY52" fmla="*/ 2353826 h 3464169"/>
                    <a:gd name="connsiteX53" fmla="*/ 4147457 w 9164934"/>
                    <a:gd name="connsiteY53" fmla="*/ 2451797 h 3464169"/>
                    <a:gd name="connsiteX54" fmla="*/ 3113314 w 9164934"/>
                    <a:gd name="connsiteY54" fmla="*/ 2484454 h 3464169"/>
                    <a:gd name="connsiteX55" fmla="*/ 1915885 w 9164934"/>
                    <a:gd name="connsiteY55" fmla="*/ 2517112 h 3464169"/>
                    <a:gd name="connsiteX56" fmla="*/ 631371 w 9164934"/>
                    <a:gd name="connsiteY56" fmla="*/ 2538883 h 3464169"/>
                    <a:gd name="connsiteX57" fmla="*/ 239485 w 9164934"/>
                    <a:gd name="connsiteY57" fmla="*/ 2560654 h 3464169"/>
                    <a:gd name="connsiteX58" fmla="*/ 32657 w 9164934"/>
                    <a:gd name="connsiteY58" fmla="*/ 2538883 h 3464169"/>
                    <a:gd name="connsiteX59" fmla="*/ 32657 w 9164934"/>
                    <a:gd name="connsiteY59" fmla="*/ 2789254 h 3464169"/>
                    <a:gd name="connsiteX60" fmla="*/ 21771 w 9164934"/>
                    <a:gd name="connsiteY60" fmla="*/ 3202912 h 3464169"/>
                    <a:gd name="connsiteX61" fmla="*/ 0 w 9164934"/>
                    <a:gd name="connsiteY61" fmla="*/ 3464169 h 3464169"/>
                    <a:gd name="connsiteX0" fmla="*/ 0 w 9208139"/>
                    <a:gd name="connsiteY0" fmla="*/ 3384421 h 3384421"/>
                    <a:gd name="connsiteX1" fmla="*/ 740228 w 9208139"/>
                    <a:gd name="connsiteY1" fmla="*/ 3373535 h 3384421"/>
                    <a:gd name="connsiteX2" fmla="*/ 2394857 w 9208139"/>
                    <a:gd name="connsiteY2" fmla="*/ 3329992 h 3384421"/>
                    <a:gd name="connsiteX3" fmla="*/ 3951514 w 9208139"/>
                    <a:gd name="connsiteY3" fmla="*/ 3242906 h 3384421"/>
                    <a:gd name="connsiteX4" fmla="*/ 5431971 w 9208139"/>
                    <a:gd name="connsiteY4" fmla="*/ 3112278 h 3384421"/>
                    <a:gd name="connsiteX5" fmla="*/ 6161314 w 9208139"/>
                    <a:gd name="connsiteY5" fmla="*/ 2981649 h 3384421"/>
                    <a:gd name="connsiteX6" fmla="*/ 6912428 w 9208139"/>
                    <a:gd name="connsiteY6" fmla="*/ 2829249 h 3384421"/>
                    <a:gd name="connsiteX7" fmla="*/ 7456714 w 9208139"/>
                    <a:gd name="connsiteY7" fmla="*/ 2589764 h 3384421"/>
                    <a:gd name="connsiteX8" fmla="*/ 7761514 w 9208139"/>
                    <a:gd name="connsiteY8" fmla="*/ 2328506 h 3384421"/>
                    <a:gd name="connsiteX9" fmla="*/ 7783285 w 9208139"/>
                    <a:gd name="connsiteY9" fmla="*/ 2099906 h 3384421"/>
                    <a:gd name="connsiteX10" fmla="*/ 7707085 w 9208139"/>
                    <a:gd name="connsiteY10" fmla="*/ 1947507 h 3384421"/>
                    <a:gd name="connsiteX11" fmla="*/ 7478485 w 9208139"/>
                    <a:gd name="connsiteY11" fmla="*/ 1816878 h 3384421"/>
                    <a:gd name="connsiteX12" fmla="*/ 7032171 w 9208139"/>
                    <a:gd name="connsiteY12" fmla="*/ 1697135 h 3384421"/>
                    <a:gd name="connsiteX13" fmla="*/ 6313714 w 9208139"/>
                    <a:gd name="connsiteY13" fmla="*/ 1555621 h 3384421"/>
                    <a:gd name="connsiteX14" fmla="*/ 5671457 w 9208139"/>
                    <a:gd name="connsiteY14" fmla="*/ 1435878 h 3384421"/>
                    <a:gd name="connsiteX15" fmla="*/ 5421085 w 9208139"/>
                    <a:gd name="connsiteY15" fmla="*/ 1381449 h 3384421"/>
                    <a:gd name="connsiteX16" fmla="*/ 5170714 w 9208139"/>
                    <a:gd name="connsiteY16" fmla="*/ 1316135 h 3384421"/>
                    <a:gd name="connsiteX17" fmla="*/ 5192485 w 9208139"/>
                    <a:gd name="connsiteY17" fmla="*/ 1283478 h 3384421"/>
                    <a:gd name="connsiteX18" fmla="*/ 5704114 w 9208139"/>
                    <a:gd name="connsiteY18" fmla="*/ 1218164 h 3384421"/>
                    <a:gd name="connsiteX19" fmla="*/ 6890657 w 9208139"/>
                    <a:gd name="connsiteY19" fmla="*/ 1120192 h 3384421"/>
                    <a:gd name="connsiteX20" fmla="*/ 8022770 w 9208139"/>
                    <a:gd name="connsiteY20" fmla="*/ 946021 h 3384421"/>
                    <a:gd name="connsiteX21" fmla="*/ 7761514 w 9208139"/>
                    <a:gd name="connsiteY21" fmla="*/ 662992 h 3384421"/>
                    <a:gd name="connsiteX22" fmla="*/ 6466114 w 9208139"/>
                    <a:gd name="connsiteY22" fmla="*/ 401735 h 3384421"/>
                    <a:gd name="connsiteX23" fmla="*/ 5987142 w 9208139"/>
                    <a:gd name="connsiteY23" fmla="*/ 303764 h 3384421"/>
                    <a:gd name="connsiteX24" fmla="*/ 5976257 w 9208139"/>
                    <a:gd name="connsiteY24" fmla="*/ 260221 h 3384421"/>
                    <a:gd name="connsiteX25" fmla="*/ 6607628 w 9208139"/>
                    <a:gd name="connsiteY25" fmla="*/ 271106 h 3384421"/>
                    <a:gd name="connsiteX26" fmla="*/ 8447314 w 9208139"/>
                    <a:gd name="connsiteY26" fmla="*/ 268594 h 3384421"/>
                    <a:gd name="connsiteX27" fmla="*/ 9164934 w 9208139"/>
                    <a:gd name="connsiteY27" fmla="*/ 251847 h 3384421"/>
                    <a:gd name="connsiteX28" fmla="*/ 9149024 w 9208139"/>
                    <a:gd name="connsiteY28" fmla="*/ 20735 h 3384421"/>
                    <a:gd name="connsiteX29" fmla="*/ 8414657 w 9208139"/>
                    <a:gd name="connsiteY29" fmla="*/ 9849 h 3384421"/>
                    <a:gd name="connsiteX30" fmla="*/ 7783285 w 9208139"/>
                    <a:gd name="connsiteY30" fmla="*/ 9849 h 3384421"/>
                    <a:gd name="connsiteX31" fmla="*/ 6814457 w 9208139"/>
                    <a:gd name="connsiteY31" fmla="*/ 20735 h 3384421"/>
                    <a:gd name="connsiteX32" fmla="*/ 5867400 w 9208139"/>
                    <a:gd name="connsiteY32" fmla="*/ 31621 h 3384421"/>
                    <a:gd name="connsiteX33" fmla="*/ 5072742 w 9208139"/>
                    <a:gd name="connsiteY33" fmla="*/ 64277 h 3384421"/>
                    <a:gd name="connsiteX34" fmla="*/ 5029200 w 9208139"/>
                    <a:gd name="connsiteY34" fmla="*/ 303764 h 3384421"/>
                    <a:gd name="connsiteX35" fmla="*/ 5932714 w 9208139"/>
                    <a:gd name="connsiteY35" fmla="*/ 532364 h 3384421"/>
                    <a:gd name="connsiteX36" fmla="*/ 6444342 w 9208139"/>
                    <a:gd name="connsiteY36" fmla="*/ 619449 h 3384421"/>
                    <a:gd name="connsiteX37" fmla="*/ 6683828 w 9208139"/>
                    <a:gd name="connsiteY37" fmla="*/ 684764 h 3384421"/>
                    <a:gd name="connsiteX38" fmla="*/ 6574971 w 9208139"/>
                    <a:gd name="connsiteY38" fmla="*/ 771849 h 3384421"/>
                    <a:gd name="connsiteX39" fmla="*/ 5845628 w 9208139"/>
                    <a:gd name="connsiteY39" fmla="*/ 848049 h 3384421"/>
                    <a:gd name="connsiteX40" fmla="*/ 4942114 w 9208139"/>
                    <a:gd name="connsiteY40" fmla="*/ 935135 h 3384421"/>
                    <a:gd name="connsiteX41" fmla="*/ 4245428 w 9208139"/>
                    <a:gd name="connsiteY41" fmla="*/ 956906 h 3384421"/>
                    <a:gd name="connsiteX42" fmla="*/ 3374571 w 9208139"/>
                    <a:gd name="connsiteY42" fmla="*/ 1065764 h 3384421"/>
                    <a:gd name="connsiteX43" fmla="*/ 3265714 w 9208139"/>
                    <a:gd name="connsiteY43" fmla="*/ 1131078 h 3384421"/>
                    <a:gd name="connsiteX44" fmla="*/ 3265714 w 9208139"/>
                    <a:gd name="connsiteY44" fmla="*/ 1272592 h 3384421"/>
                    <a:gd name="connsiteX45" fmla="*/ 3614057 w 9208139"/>
                    <a:gd name="connsiteY45" fmla="*/ 1381449 h 3384421"/>
                    <a:gd name="connsiteX46" fmla="*/ 4604657 w 9208139"/>
                    <a:gd name="connsiteY46" fmla="*/ 1599164 h 3384421"/>
                    <a:gd name="connsiteX47" fmla="*/ 5529942 w 9208139"/>
                    <a:gd name="connsiteY47" fmla="*/ 1827764 h 3384421"/>
                    <a:gd name="connsiteX48" fmla="*/ 5867400 w 9208139"/>
                    <a:gd name="connsiteY48" fmla="*/ 1958392 h 3384421"/>
                    <a:gd name="connsiteX49" fmla="*/ 5998028 w 9208139"/>
                    <a:gd name="connsiteY49" fmla="*/ 2078135 h 3384421"/>
                    <a:gd name="connsiteX50" fmla="*/ 5780314 w 9208139"/>
                    <a:gd name="connsiteY50" fmla="*/ 2165221 h 3384421"/>
                    <a:gd name="connsiteX51" fmla="*/ 5236028 w 9208139"/>
                    <a:gd name="connsiteY51" fmla="*/ 2274078 h 3384421"/>
                    <a:gd name="connsiteX52" fmla="*/ 4147457 w 9208139"/>
                    <a:gd name="connsiteY52" fmla="*/ 2372049 h 3384421"/>
                    <a:gd name="connsiteX53" fmla="*/ 3113314 w 9208139"/>
                    <a:gd name="connsiteY53" fmla="*/ 2404706 h 3384421"/>
                    <a:gd name="connsiteX54" fmla="*/ 1915885 w 9208139"/>
                    <a:gd name="connsiteY54" fmla="*/ 2437364 h 3384421"/>
                    <a:gd name="connsiteX55" fmla="*/ 631371 w 9208139"/>
                    <a:gd name="connsiteY55" fmla="*/ 2459135 h 3384421"/>
                    <a:gd name="connsiteX56" fmla="*/ 239485 w 9208139"/>
                    <a:gd name="connsiteY56" fmla="*/ 2480906 h 3384421"/>
                    <a:gd name="connsiteX57" fmla="*/ 32657 w 9208139"/>
                    <a:gd name="connsiteY57" fmla="*/ 2459135 h 3384421"/>
                    <a:gd name="connsiteX58" fmla="*/ 32657 w 9208139"/>
                    <a:gd name="connsiteY58" fmla="*/ 2709506 h 3384421"/>
                    <a:gd name="connsiteX59" fmla="*/ 21771 w 9208139"/>
                    <a:gd name="connsiteY59" fmla="*/ 3123164 h 3384421"/>
                    <a:gd name="connsiteX60" fmla="*/ 0 w 9208139"/>
                    <a:gd name="connsiteY60" fmla="*/ 3384421 h 3384421"/>
                    <a:gd name="connsiteX0" fmla="*/ 0 w 9208139"/>
                    <a:gd name="connsiteY0" fmla="*/ 3384421 h 3384421"/>
                    <a:gd name="connsiteX1" fmla="*/ 740228 w 9208139"/>
                    <a:gd name="connsiteY1" fmla="*/ 3373535 h 3384421"/>
                    <a:gd name="connsiteX2" fmla="*/ 2394857 w 9208139"/>
                    <a:gd name="connsiteY2" fmla="*/ 3329992 h 3384421"/>
                    <a:gd name="connsiteX3" fmla="*/ 3951514 w 9208139"/>
                    <a:gd name="connsiteY3" fmla="*/ 3242906 h 3384421"/>
                    <a:gd name="connsiteX4" fmla="*/ 5431971 w 9208139"/>
                    <a:gd name="connsiteY4" fmla="*/ 3112278 h 3384421"/>
                    <a:gd name="connsiteX5" fmla="*/ 6161314 w 9208139"/>
                    <a:gd name="connsiteY5" fmla="*/ 2981649 h 3384421"/>
                    <a:gd name="connsiteX6" fmla="*/ 6912428 w 9208139"/>
                    <a:gd name="connsiteY6" fmla="*/ 2829249 h 3384421"/>
                    <a:gd name="connsiteX7" fmla="*/ 7456714 w 9208139"/>
                    <a:gd name="connsiteY7" fmla="*/ 2589764 h 3384421"/>
                    <a:gd name="connsiteX8" fmla="*/ 7761514 w 9208139"/>
                    <a:gd name="connsiteY8" fmla="*/ 2328506 h 3384421"/>
                    <a:gd name="connsiteX9" fmla="*/ 7783285 w 9208139"/>
                    <a:gd name="connsiteY9" fmla="*/ 2099906 h 3384421"/>
                    <a:gd name="connsiteX10" fmla="*/ 7707085 w 9208139"/>
                    <a:gd name="connsiteY10" fmla="*/ 1947507 h 3384421"/>
                    <a:gd name="connsiteX11" fmla="*/ 7478485 w 9208139"/>
                    <a:gd name="connsiteY11" fmla="*/ 1816878 h 3384421"/>
                    <a:gd name="connsiteX12" fmla="*/ 7032171 w 9208139"/>
                    <a:gd name="connsiteY12" fmla="*/ 1697135 h 3384421"/>
                    <a:gd name="connsiteX13" fmla="*/ 6313714 w 9208139"/>
                    <a:gd name="connsiteY13" fmla="*/ 1555621 h 3384421"/>
                    <a:gd name="connsiteX14" fmla="*/ 5671457 w 9208139"/>
                    <a:gd name="connsiteY14" fmla="*/ 1435878 h 3384421"/>
                    <a:gd name="connsiteX15" fmla="*/ 5421085 w 9208139"/>
                    <a:gd name="connsiteY15" fmla="*/ 1381449 h 3384421"/>
                    <a:gd name="connsiteX16" fmla="*/ 5170714 w 9208139"/>
                    <a:gd name="connsiteY16" fmla="*/ 1316135 h 3384421"/>
                    <a:gd name="connsiteX17" fmla="*/ 5192485 w 9208139"/>
                    <a:gd name="connsiteY17" fmla="*/ 1283478 h 3384421"/>
                    <a:gd name="connsiteX18" fmla="*/ 5704114 w 9208139"/>
                    <a:gd name="connsiteY18" fmla="*/ 1218164 h 3384421"/>
                    <a:gd name="connsiteX19" fmla="*/ 6890657 w 9208139"/>
                    <a:gd name="connsiteY19" fmla="*/ 1120192 h 3384421"/>
                    <a:gd name="connsiteX20" fmla="*/ 8022770 w 9208139"/>
                    <a:gd name="connsiteY20" fmla="*/ 946021 h 3384421"/>
                    <a:gd name="connsiteX21" fmla="*/ 7761514 w 9208139"/>
                    <a:gd name="connsiteY21" fmla="*/ 662992 h 3384421"/>
                    <a:gd name="connsiteX22" fmla="*/ 6466114 w 9208139"/>
                    <a:gd name="connsiteY22" fmla="*/ 401735 h 3384421"/>
                    <a:gd name="connsiteX23" fmla="*/ 5987142 w 9208139"/>
                    <a:gd name="connsiteY23" fmla="*/ 303764 h 3384421"/>
                    <a:gd name="connsiteX24" fmla="*/ 5976257 w 9208139"/>
                    <a:gd name="connsiteY24" fmla="*/ 260221 h 3384421"/>
                    <a:gd name="connsiteX25" fmla="*/ 6607628 w 9208139"/>
                    <a:gd name="connsiteY25" fmla="*/ 271106 h 3384421"/>
                    <a:gd name="connsiteX26" fmla="*/ 8447314 w 9208139"/>
                    <a:gd name="connsiteY26" fmla="*/ 268594 h 3384421"/>
                    <a:gd name="connsiteX27" fmla="*/ 9164934 w 9208139"/>
                    <a:gd name="connsiteY27" fmla="*/ 251847 h 3384421"/>
                    <a:gd name="connsiteX28" fmla="*/ 9149024 w 9208139"/>
                    <a:gd name="connsiteY28" fmla="*/ 20735 h 3384421"/>
                    <a:gd name="connsiteX29" fmla="*/ 8414657 w 9208139"/>
                    <a:gd name="connsiteY29" fmla="*/ 9849 h 3384421"/>
                    <a:gd name="connsiteX30" fmla="*/ 7783285 w 9208139"/>
                    <a:gd name="connsiteY30" fmla="*/ 9849 h 3384421"/>
                    <a:gd name="connsiteX31" fmla="*/ 6814457 w 9208139"/>
                    <a:gd name="connsiteY31" fmla="*/ 20735 h 3384421"/>
                    <a:gd name="connsiteX32" fmla="*/ 5867400 w 9208139"/>
                    <a:gd name="connsiteY32" fmla="*/ 31621 h 3384421"/>
                    <a:gd name="connsiteX33" fmla="*/ 5072742 w 9208139"/>
                    <a:gd name="connsiteY33" fmla="*/ 64277 h 3384421"/>
                    <a:gd name="connsiteX34" fmla="*/ 5029200 w 9208139"/>
                    <a:gd name="connsiteY34" fmla="*/ 303764 h 3384421"/>
                    <a:gd name="connsiteX35" fmla="*/ 5932714 w 9208139"/>
                    <a:gd name="connsiteY35" fmla="*/ 532364 h 3384421"/>
                    <a:gd name="connsiteX36" fmla="*/ 6444342 w 9208139"/>
                    <a:gd name="connsiteY36" fmla="*/ 619449 h 3384421"/>
                    <a:gd name="connsiteX37" fmla="*/ 6683828 w 9208139"/>
                    <a:gd name="connsiteY37" fmla="*/ 684764 h 3384421"/>
                    <a:gd name="connsiteX38" fmla="*/ 6574971 w 9208139"/>
                    <a:gd name="connsiteY38" fmla="*/ 771849 h 3384421"/>
                    <a:gd name="connsiteX39" fmla="*/ 5845628 w 9208139"/>
                    <a:gd name="connsiteY39" fmla="*/ 848049 h 3384421"/>
                    <a:gd name="connsiteX40" fmla="*/ 4942114 w 9208139"/>
                    <a:gd name="connsiteY40" fmla="*/ 935135 h 3384421"/>
                    <a:gd name="connsiteX41" fmla="*/ 4245428 w 9208139"/>
                    <a:gd name="connsiteY41" fmla="*/ 956906 h 3384421"/>
                    <a:gd name="connsiteX42" fmla="*/ 3374571 w 9208139"/>
                    <a:gd name="connsiteY42" fmla="*/ 1065764 h 3384421"/>
                    <a:gd name="connsiteX43" fmla="*/ 3265714 w 9208139"/>
                    <a:gd name="connsiteY43" fmla="*/ 1131078 h 3384421"/>
                    <a:gd name="connsiteX44" fmla="*/ 3265714 w 9208139"/>
                    <a:gd name="connsiteY44" fmla="*/ 1272592 h 3384421"/>
                    <a:gd name="connsiteX45" fmla="*/ 3614057 w 9208139"/>
                    <a:gd name="connsiteY45" fmla="*/ 1381449 h 3384421"/>
                    <a:gd name="connsiteX46" fmla="*/ 4604657 w 9208139"/>
                    <a:gd name="connsiteY46" fmla="*/ 1599164 h 3384421"/>
                    <a:gd name="connsiteX47" fmla="*/ 5529942 w 9208139"/>
                    <a:gd name="connsiteY47" fmla="*/ 1827764 h 3384421"/>
                    <a:gd name="connsiteX48" fmla="*/ 5867400 w 9208139"/>
                    <a:gd name="connsiteY48" fmla="*/ 1958392 h 3384421"/>
                    <a:gd name="connsiteX49" fmla="*/ 5998028 w 9208139"/>
                    <a:gd name="connsiteY49" fmla="*/ 2078135 h 3384421"/>
                    <a:gd name="connsiteX50" fmla="*/ 5780314 w 9208139"/>
                    <a:gd name="connsiteY50" fmla="*/ 2165221 h 3384421"/>
                    <a:gd name="connsiteX51" fmla="*/ 5236028 w 9208139"/>
                    <a:gd name="connsiteY51" fmla="*/ 2274078 h 3384421"/>
                    <a:gd name="connsiteX52" fmla="*/ 4147457 w 9208139"/>
                    <a:gd name="connsiteY52" fmla="*/ 2372049 h 3384421"/>
                    <a:gd name="connsiteX53" fmla="*/ 3113314 w 9208139"/>
                    <a:gd name="connsiteY53" fmla="*/ 2404706 h 3384421"/>
                    <a:gd name="connsiteX54" fmla="*/ 1915885 w 9208139"/>
                    <a:gd name="connsiteY54" fmla="*/ 2437364 h 3384421"/>
                    <a:gd name="connsiteX55" fmla="*/ 631371 w 9208139"/>
                    <a:gd name="connsiteY55" fmla="*/ 2459135 h 3384421"/>
                    <a:gd name="connsiteX56" fmla="*/ 239485 w 9208139"/>
                    <a:gd name="connsiteY56" fmla="*/ 2480906 h 3384421"/>
                    <a:gd name="connsiteX57" fmla="*/ 32657 w 9208139"/>
                    <a:gd name="connsiteY57" fmla="*/ 2459135 h 3384421"/>
                    <a:gd name="connsiteX58" fmla="*/ 32657 w 9208139"/>
                    <a:gd name="connsiteY58" fmla="*/ 2709506 h 3384421"/>
                    <a:gd name="connsiteX59" fmla="*/ 21771 w 9208139"/>
                    <a:gd name="connsiteY59" fmla="*/ 3123164 h 3384421"/>
                    <a:gd name="connsiteX60" fmla="*/ 0 w 9208139"/>
                    <a:gd name="connsiteY60" fmla="*/ 3384421 h 3384421"/>
                    <a:gd name="connsiteX0" fmla="*/ 0 w 9164934"/>
                    <a:gd name="connsiteY0" fmla="*/ 3384421 h 3384421"/>
                    <a:gd name="connsiteX1" fmla="*/ 740228 w 9164934"/>
                    <a:gd name="connsiteY1" fmla="*/ 3373535 h 3384421"/>
                    <a:gd name="connsiteX2" fmla="*/ 2394857 w 9164934"/>
                    <a:gd name="connsiteY2" fmla="*/ 3329992 h 3384421"/>
                    <a:gd name="connsiteX3" fmla="*/ 3951514 w 9164934"/>
                    <a:gd name="connsiteY3" fmla="*/ 3242906 h 3384421"/>
                    <a:gd name="connsiteX4" fmla="*/ 5431971 w 9164934"/>
                    <a:gd name="connsiteY4" fmla="*/ 3112278 h 3384421"/>
                    <a:gd name="connsiteX5" fmla="*/ 6161314 w 9164934"/>
                    <a:gd name="connsiteY5" fmla="*/ 2981649 h 3384421"/>
                    <a:gd name="connsiteX6" fmla="*/ 6912428 w 9164934"/>
                    <a:gd name="connsiteY6" fmla="*/ 2829249 h 3384421"/>
                    <a:gd name="connsiteX7" fmla="*/ 7456714 w 9164934"/>
                    <a:gd name="connsiteY7" fmla="*/ 2589764 h 3384421"/>
                    <a:gd name="connsiteX8" fmla="*/ 7761514 w 9164934"/>
                    <a:gd name="connsiteY8" fmla="*/ 2328506 h 3384421"/>
                    <a:gd name="connsiteX9" fmla="*/ 7783285 w 9164934"/>
                    <a:gd name="connsiteY9" fmla="*/ 2099906 h 3384421"/>
                    <a:gd name="connsiteX10" fmla="*/ 7707085 w 9164934"/>
                    <a:gd name="connsiteY10" fmla="*/ 1947507 h 3384421"/>
                    <a:gd name="connsiteX11" fmla="*/ 7478485 w 9164934"/>
                    <a:gd name="connsiteY11" fmla="*/ 1816878 h 3384421"/>
                    <a:gd name="connsiteX12" fmla="*/ 7032171 w 9164934"/>
                    <a:gd name="connsiteY12" fmla="*/ 1697135 h 3384421"/>
                    <a:gd name="connsiteX13" fmla="*/ 6313714 w 9164934"/>
                    <a:gd name="connsiteY13" fmla="*/ 1555621 h 3384421"/>
                    <a:gd name="connsiteX14" fmla="*/ 5671457 w 9164934"/>
                    <a:gd name="connsiteY14" fmla="*/ 1435878 h 3384421"/>
                    <a:gd name="connsiteX15" fmla="*/ 5421085 w 9164934"/>
                    <a:gd name="connsiteY15" fmla="*/ 1381449 h 3384421"/>
                    <a:gd name="connsiteX16" fmla="*/ 5170714 w 9164934"/>
                    <a:gd name="connsiteY16" fmla="*/ 1316135 h 3384421"/>
                    <a:gd name="connsiteX17" fmla="*/ 5192485 w 9164934"/>
                    <a:gd name="connsiteY17" fmla="*/ 1283478 h 3384421"/>
                    <a:gd name="connsiteX18" fmla="*/ 5704114 w 9164934"/>
                    <a:gd name="connsiteY18" fmla="*/ 1218164 h 3384421"/>
                    <a:gd name="connsiteX19" fmla="*/ 6890657 w 9164934"/>
                    <a:gd name="connsiteY19" fmla="*/ 1120192 h 3384421"/>
                    <a:gd name="connsiteX20" fmla="*/ 8022770 w 9164934"/>
                    <a:gd name="connsiteY20" fmla="*/ 946021 h 3384421"/>
                    <a:gd name="connsiteX21" fmla="*/ 7761514 w 9164934"/>
                    <a:gd name="connsiteY21" fmla="*/ 662992 h 3384421"/>
                    <a:gd name="connsiteX22" fmla="*/ 6466114 w 9164934"/>
                    <a:gd name="connsiteY22" fmla="*/ 401735 h 3384421"/>
                    <a:gd name="connsiteX23" fmla="*/ 5987142 w 9164934"/>
                    <a:gd name="connsiteY23" fmla="*/ 303764 h 3384421"/>
                    <a:gd name="connsiteX24" fmla="*/ 5976257 w 9164934"/>
                    <a:gd name="connsiteY24" fmla="*/ 260221 h 3384421"/>
                    <a:gd name="connsiteX25" fmla="*/ 6607628 w 9164934"/>
                    <a:gd name="connsiteY25" fmla="*/ 271106 h 3384421"/>
                    <a:gd name="connsiteX26" fmla="*/ 8447314 w 9164934"/>
                    <a:gd name="connsiteY26" fmla="*/ 268594 h 3384421"/>
                    <a:gd name="connsiteX27" fmla="*/ 9164934 w 9164934"/>
                    <a:gd name="connsiteY27" fmla="*/ 251847 h 3384421"/>
                    <a:gd name="connsiteX28" fmla="*/ 9149024 w 9164934"/>
                    <a:gd name="connsiteY28" fmla="*/ 20735 h 3384421"/>
                    <a:gd name="connsiteX29" fmla="*/ 8414657 w 9164934"/>
                    <a:gd name="connsiteY29" fmla="*/ 9849 h 3384421"/>
                    <a:gd name="connsiteX30" fmla="*/ 7783285 w 9164934"/>
                    <a:gd name="connsiteY30" fmla="*/ 9849 h 3384421"/>
                    <a:gd name="connsiteX31" fmla="*/ 6814457 w 9164934"/>
                    <a:gd name="connsiteY31" fmla="*/ 20735 h 3384421"/>
                    <a:gd name="connsiteX32" fmla="*/ 5867400 w 9164934"/>
                    <a:gd name="connsiteY32" fmla="*/ 31621 h 3384421"/>
                    <a:gd name="connsiteX33" fmla="*/ 5072742 w 9164934"/>
                    <a:gd name="connsiteY33" fmla="*/ 64277 h 3384421"/>
                    <a:gd name="connsiteX34" fmla="*/ 5029200 w 9164934"/>
                    <a:gd name="connsiteY34" fmla="*/ 303764 h 3384421"/>
                    <a:gd name="connsiteX35" fmla="*/ 5932714 w 9164934"/>
                    <a:gd name="connsiteY35" fmla="*/ 532364 h 3384421"/>
                    <a:gd name="connsiteX36" fmla="*/ 6444342 w 9164934"/>
                    <a:gd name="connsiteY36" fmla="*/ 619449 h 3384421"/>
                    <a:gd name="connsiteX37" fmla="*/ 6683828 w 9164934"/>
                    <a:gd name="connsiteY37" fmla="*/ 684764 h 3384421"/>
                    <a:gd name="connsiteX38" fmla="*/ 6574971 w 9164934"/>
                    <a:gd name="connsiteY38" fmla="*/ 771849 h 3384421"/>
                    <a:gd name="connsiteX39" fmla="*/ 5845628 w 9164934"/>
                    <a:gd name="connsiteY39" fmla="*/ 848049 h 3384421"/>
                    <a:gd name="connsiteX40" fmla="*/ 4942114 w 9164934"/>
                    <a:gd name="connsiteY40" fmla="*/ 935135 h 3384421"/>
                    <a:gd name="connsiteX41" fmla="*/ 4245428 w 9164934"/>
                    <a:gd name="connsiteY41" fmla="*/ 956906 h 3384421"/>
                    <a:gd name="connsiteX42" fmla="*/ 3374571 w 9164934"/>
                    <a:gd name="connsiteY42" fmla="*/ 1065764 h 3384421"/>
                    <a:gd name="connsiteX43" fmla="*/ 3265714 w 9164934"/>
                    <a:gd name="connsiteY43" fmla="*/ 1131078 h 3384421"/>
                    <a:gd name="connsiteX44" fmla="*/ 3265714 w 9164934"/>
                    <a:gd name="connsiteY44" fmla="*/ 1272592 h 3384421"/>
                    <a:gd name="connsiteX45" fmla="*/ 3614057 w 9164934"/>
                    <a:gd name="connsiteY45" fmla="*/ 1381449 h 3384421"/>
                    <a:gd name="connsiteX46" fmla="*/ 4604657 w 9164934"/>
                    <a:gd name="connsiteY46" fmla="*/ 1599164 h 3384421"/>
                    <a:gd name="connsiteX47" fmla="*/ 5529942 w 9164934"/>
                    <a:gd name="connsiteY47" fmla="*/ 1827764 h 3384421"/>
                    <a:gd name="connsiteX48" fmla="*/ 5867400 w 9164934"/>
                    <a:gd name="connsiteY48" fmla="*/ 1958392 h 3384421"/>
                    <a:gd name="connsiteX49" fmla="*/ 5998028 w 9164934"/>
                    <a:gd name="connsiteY49" fmla="*/ 2078135 h 3384421"/>
                    <a:gd name="connsiteX50" fmla="*/ 5780314 w 9164934"/>
                    <a:gd name="connsiteY50" fmla="*/ 2165221 h 3384421"/>
                    <a:gd name="connsiteX51" fmla="*/ 5236028 w 9164934"/>
                    <a:gd name="connsiteY51" fmla="*/ 2274078 h 3384421"/>
                    <a:gd name="connsiteX52" fmla="*/ 4147457 w 9164934"/>
                    <a:gd name="connsiteY52" fmla="*/ 2372049 h 3384421"/>
                    <a:gd name="connsiteX53" fmla="*/ 3113314 w 9164934"/>
                    <a:gd name="connsiteY53" fmla="*/ 2404706 h 3384421"/>
                    <a:gd name="connsiteX54" fmla="*/ 1915885 w 9164934"/>
                    <a:gd name="connsiteY54" fmla="*/ 2437364 h 3384421"/>
                    <a:gd name="connsiteX55" fmla="*/ 631371 w 9164934"/>
                    <a:gd name="connsiteY55" fmla="*/ 2459135 h 3384421"/>
                    <a:gd name="connsiteX56" fmla="*/ 239485 w 9164934"/>
                    <a:gd name="connsiteY56" fmla="*/ 2480906 h 3384421"/>
                    <a:gd name="connsiteX57" fmla="*/ 32657 w 9164934"/>
                    <a:gd name="connsiteY57" fmla="*/ 2459135 h 3384421"/>
                    <a:gd name="connsiteX58" fmla="*/ 32657 w 9164934"/>
                    <a:gd name="connsiteY58" fmla="*/ 2709506 h 3384421"/>
                    <a:gd name="connsiteX59" fmla="*/ 21771 w 9164934"/>
                    <a:gd name="connsiteY59" fmla="*/ 3123164 h 3384421"/>
                    <a:gd name="connsiteX60" fmla="*/ 0 w 9164934"/>
                    <a:gd name="connsiteY60" fmla="*/ 3384421 h 3384421"/>
                    <a:gd name="connsiteX0" fmla="*/ 0 w 9164934"/>
                    <a:gd name="connsiteY0" fmla="*/ 3384421 h 3384421"/>
                    <a:gd name="connsiteX1" fmla="*/ 740228 w 9164934"/>
                    <a:gd name="connsiteY1" fmla="*/ 3373535 h 3384421"/>
                    <a:gd name="connsiteX2" fmla="*/ 2394857 w 9164934"/>
                    <a:gd name="connsiteY2" fmla="*/ 3329992 h 3384421"/>
                    <a:gd name="connsiteX3" fmla="*/ 3951514 w 9164934"/>
                    <a:gd name="connsiteY3" fmla="*/ 3242906 h 3384421"/>
                    <a:gd name="connsiteX4" fmla="*/ 5431971 w 9164934"/>
                    <a:gd name="connsiteY4" fmla="*/ 3112278 h 3384421"/>
                    <a:gd name="connsiteX5" fmla="*/ 6161314 w 9164934"/>
                    <a:gd name="connsiteY5" fmla="*/ 2981649 h 3384421"/>
                    <a:gd name="connsiteX6" fmla="*/ 6912428 w 9164934"/>
                    <a:gd name="connsiteY6" fmla="*/ 2829249 h 3384421"/>
                    <a:gd name="connsiteX7" fmla="*/ 7456714 w 9164934"/>
                    <a:gd name="connsiteY7" fmla="*/ 2589764 h 3384421"/>
                    <a:gd name="connsiteX8" fmla="*/ 7761514 w 9164934"/>
                    <a:gd name="connsiteY8" fmla="*/ 2328506 h 3384421"/>
                    <a:gd name="connsiteX9" fmla="*/ 7783285 w 9164934"/>
                    <a:gd name="connsiteY9" fmla="*/ 2099906 h 3384421"/>
                    <a:gd name="connsiteX10" fmla="*/ 7707085 w 9164934"/>
                    <a:gd name="connsiteY10" fmla="*/ 1947507 h 3384421"/>
                    <a:gd name="connsiteX11" fmla="*/ 7478485 w 9164934"/>
                    <a:gd name="connsiteY11" fmla="*/ 1816878 h 3384421"/>
                    <a:gd name="connsiteX12" fmla="*/ 7032171 w 9164934"/>
                    <a:gd name="connsiteY12" fmla="*/ 1697135 h 3384421"/>
                    <a:gd name="connsiteX13" fmla="*/ 6313714 w 9164934"/>
                    <a:gd name="connsiteY13" fmla="*/ 1555621 h 3384421"/>
                    <a:gd name="connsiteX14" fmla="*/ 5671457 w 9164934"/>
                    <a:gd name="connsiteY14" fmla="*/ 1435878 h 3384421"/>
                    <a:gd name="connsiteX15" fmla="*/ 5421085 w 9164934"/>
                    <a:gd name="connsiteY15" fmla="*/ 1381449 h 3384421"/>
                    <a:gd name="connsiteX16" fmla="*/ 5170714 w 9164934"/>
                    <a:gd name="connsiteY16" fmla="*/ 1316135 h 3384421"/>
                    <a:gd name="connsiteX17" fmla="*/ 5192485 w 9164934"/>
                    <a:gd name="connsiteY17" fmla="*/ 1283478 h 3384421"/>
                    <a:gd name="connsiteX18" fmla="*/ 5704114 w 9164934"/>
                    <a:gd name="connsiteY18" fmla="*/ 1218164 h 3384421"/>
                    <a:gd name="connsiteX19" fmla="*/ 6890657 w 9164934"/>
                    <a:gd name="connsiteY19" fmla="*/ 1120192 h 3384421"/>
                    <a:gd name="connsiteX20" fmla="*/ 8022770 w 9164934"/>
                    <a:gd name="connsiteY20" fmla="*/ 946021 h 3384421"/>
                    <a:gd name="connsiteX21" fmla="*/ 7761514 w 9164934"/>
                    <a:gd name="connsiteY21" fmla="*/ 662992 h 3384421"/>
                    <a:gd name="connsiteX22" fmla="*/ 6466114 w 9164934"/>
                    <a:gd name="connsiteY22" fmla="*/ 401735 h 3384421"/>
                    <a:gd name="connsiteX23" fmla="*/ 5987142 w 9164934"/>
                    <a:gd name="connsiteY23" fmla="*/ 303764 h 3384421"/>
                    <a:gd name="connsiteX24" fmla="*/ 5976257 w 9164934"/>
                    <a:gd name="connsiteY24" fmla="*/ 260221 h 3384421"/>
                    <a:gd name="connsiteX25" fmla="*/ 6607628 w 9164934"/>
                    <a:gd name="connsiteY25" fmla="*/ 271106 h 3384421"/>
                    <a:gd name="connsiteX26" fmla="*/ 8447314 w 9164934"/>
                    <a:gd name="connsiteY26" fmla="*/ 268594 h 3384421"/>
                    <a:gd name="connsiteX27" fmla="*/ 9164934 w 9164934"/>
                    <a:gd name="connsiteY27" fmla="*/ 251847 h 3384421"/>
                    <a:gd name="connsiteX28" fmla="*/ 9149024 w 9164934"/>
                    <a:gd name="connsiteY28" fmla="*/ 20735 h 3384421"/>
                    <a:gd name="connsiteX29" fmla="*/ 8414657 w 9164934"/>
                    <a:gd name="connsiteY29" fmla="*/ 9849 h 3384421"/>
                    <a:gd name="connsiteX30" fmla="*/ 7783285 w 9164934"/>
                    <a:gd name="connsiteY30" fmla="*/ 9849 h 3384421"/>
                    <a:gd name="connsiteX31" fmla="*/ 6814457 w 9164934"/>
                    <a:gd name="connsiteY31" fmla="*/ 20735 h 3384421"/>
                    <a:gd name="connsiteX32" fmla="*/ 5867400 w 9164934"/>
                    <a:gd name="connsiteY32" fmla="*/ 31621 h 3384421"/>
                    <a:gd name="connsiteX33" fmla="*/ 5072742 w 9164934"/>
                    <a:gd name="connsiteY33" fmla="*/ 64277 h 3384421"/>
                    <a:gd name="connsiteX34" fmla="*/ 5029200 w 9164934"/>
                    <a:gd name="connsiteY34" fmla="*/ 303764 h 3384421"/>
                    <a:gd name="connsiteX35" fmla="*/ 5932714 w 9164934"/>
                    <a:gd name="connsiteY35" fmla="*/ 532364 h 3384421"/>
                    <a:gd name="connsiteX36" fmla="*/ 6444342 w 9164934"/>
                    <a:gd name="connsiteY36" fmla="*/ 619449 h 3384421"/>
                    <a:gd name="connsiteX37" fmla="*/ 6683828 w 9164934"/>
                    <a:gd name="connsiteY37" fmla="*/ 684764 h 3384421"/>
                    <a:gd name="connsiteX38" fmla="*/ 6574971 w 9164934"/>
                    <a:gd name="connsiteY38" fmla="*/ 771849 h 3384421"/>
                    <a:gd name="connsiteX39" fmla="*/ 5845628 w 9164934"/>
                    <a:gd name="connsiteY39" fmla="*/ 848049 h 3384421"/>
                    <a:gd name="connsiteX40" fmla="*/ 4942114 w 9164934"/>
                    <a:gd name="connsiteY40" fmla="*/ 935135 h 3384421"/>
                    <a:gd name="connsiteX41" fmla="*/ 4245428 w 9164934"/>
                    <a:gd name="connsiteY41" fmla="*/ 956906 h 3384421"/>
                    <a:gd name="connsiteX42" fmla="*/ 3374571 w 9164934"/>
                    <a:gd name="connsiteY42" fmla="*/ 1065764 h 3384421"/>
                    <a:gd name="connsiteX43" fmla="*/ 3265714 w 9164934"/>
                    <a:gd name="connsiteY43" fmla="*/ 1131078 h 3384421"/>
                    <a:gd name="connsiteX44" fmla="*/ 3265714 w 9164934"/>
                    <a:gd name="connsiteY44" fmla="*/ 1272592 h 3384421"/>
                    <a:gd name="connsiteX45" fmla="*/ 3614057 w 9164934"/>
                    <a:gd name="connsiteY45" fmla="*/ 1381449 h 3384421"/>
                    <a:gd name="connsiteX46" fmla="*/ 4604657 w 9164934"/>
                    <a:gd name="connsiteY46" fmla="*/ 1599164 h 3384421"/>
                    <a:gd name="connsiteX47" fmla="*/ 5529942 w 9164934"/>
                    <a:gd name="connsiteY47" fmla="*/ 1827764 h 3384421"/>
                    <a:gd name="connsiteX48" fmla="*/ 5867400 w 9164934"/>
                    <a:gd name="connsiteY48" fmla="*/ 1958392 h 3384421"/>
                    <a:gd name="connsiteX49" fmla="*/ 5998028 w 9164934"/>
                    <a:gd name="connsiteY49" fmla="*/ 2078135 h 3384421"/>
                    <a:gd name="connsiteX50" fmla="*/ 5780314 w 9164934"/>
                    <a:gd name="connsiteY50" fmla="*/ 2165221 h 3384421"/>
                    <a:gd name="connsiteX51" fmla="*/ 5236028 w 9164934"/>
                    <a:gd name="connsiteY51" fmla="*/ 2274078 h 3384421"/>
                    <a:gd name="connsiteX52" fmla="*/ 4147457 w 9164934"/>
                    <a:gd name="connsiteY52" fmla="*/ 2372049 h 3384421"/>
                    <a:gd name="connsiteX53" fmla="*/ 3113314 w 9164934"/>
                    <a:gd name="connsiteY53" fmla="*/ 2404706 h 3384421"/>
                    <a:gd name="connsiteX54" fmla="*/ 1915885 w 9164934"/>
                    <a:gd name="connsiteY54" fmla="*/ 2437364 h 3384421"/>
                    <a:gd name="connsiteX55" fmla="*/ 631371 w 9164934"/>
                    <a:gd name="connsiteY55" fmla="*/ 2459135 h 3384421"/>
                    <a:gd name="connsiteX56" fmla="*/ 239485 w 9164934"/>
                    <a:gd name="connsiteY56" fmla="*/ 2480906 h 3384421"/>
                    <a:gd name="connsiteX57" fmla="*/ 32657 w 9164934"/>
                    <a:gd name="connsiteY57" fmla="*/ 2459135 h 3384421"/>
                    <a:gd name="connsiteX58" fmla="*/ 32657 w 9164934"/>
                    <a:gd name="connsiteY58" fmla="*/ 2709506 h 3384421"/>
                    <a:gd name="connsiteX59" fmla="*/ 21771 w 9164934"/>
                    <a:gd name="connsiteY59" fmla="*/ 3123164 h 3384421"/>
                    <a:gd name="connsiteX60" fmla="*/ 0 w 9164934"/>
                    <a:gd name="connsiteY60" fmla="*/ 3384421 h 3384421"/>
                    <a:gd name="connsiteX0" fmla="*/ 0 w 9149024"/>
                    <a:gd name="connsiteY0" fmla="*/ 3384421 h 3384421"/>
                    <a:gd name="connsiteX1" fmla="*/ 740228 w 9149024"/>
                    <a:gd name="connsiteY1" fmla="*/ 3373535 h 3384421"/>
                    <a:gd name="connsiteX2" fmla="*/ 2394857 w 9149024"/>
                    <a:gd name="connsiteY2" fmla="*/ 3329992 h 3384421"/>
                    <a:gd name="connsiteX3" fmla="*/ 3951514 w 9149024"/>
                    <a:gd name="connsiteY3" fmla="*/ 3242906 h 3384421"/>
                    <a:gd name="connsiteX4" fmla="*/ 5431971 w 9149024"/>
                    <a:gd name="connsiteY4" fmla="*/ 3112278 h 3384421"/>
                    <a:gd name="connsiteX5" fmla="*/ 6161314 w 9149024"/>
                    <a:gd name="connsiteY5" fmla="*/ 2981649 h 3384421"/>
                    <a:gd name="connsiteX6" fmla="*/ 6912428 w 9149024"/>
                    <a:gd name="connsiteY6" fmla="*/ 2829249 h 3384421"/>
                    <a:gd name="connsiteX7" fmla="*/ 7456714 w 9149024"/>
                    <a:gd name="connsiteY7" fmla="*/ 2589764 h 3384421"/>
                    <a:gd name="connsiteX8" fmla="*/ 7761514 w 9149024"/>
                    <a:gd name="connsiteY8" fmla="*/ 2328506 h 3384421"/>
                    <a:gd name="connsiteX9" fmla="*/ 7783285 w 9149024"/>
                    <a:gd name="connsiteY9" fmla="*/ 2099906 h 3384421"/>
                    <a:gd name="connsiteX10" fmla="*/ 7707085 w 9149024"/>
                    <a:gd name="connsiteY10" fmla="*/ 1947507 h 3384421"/>
                    <a:gd name="connsiteX11" fmla="*/ 7478485 w 9149024"/>
                    <a:gd name="connsiteY11" fmla="*/ 1816878 h 3384421"/>
                    <a:gd name="connsiteX12" fmla="*/ 7032171 w 9149024"/>
                    <a:gd name="connsiteY12" fmla="*/ 1697135 h 3384421"/>
                    <a:gd name="connsiteX13" fmla="*/ 6313714 w 9149024"/>
                    <a:gd name="connsiteY13" fmla="*/ 1555621 h 3384421"/>
                    <a:gd name="connsiteX14" fmla="*/ 5671457 w 9149024"/>
                    <a:gd name="connsiteY14" fmla="*/ 1435878 h 3384421"/>
                    <a:gd name="connsiteX15" fmla="*/ 5421085 w 9149024"/>
                    <a:gd name="connsiteY15" fmla="*/ 1381449 h 3384421"/>
                    <a:gd name="connsiteX16" fmla="*/ 5170714 w 9149024"/>
                    <a:gd name="connsiteY16" fmla="*/ 1316135 h 3384421"/>
                    <a:gd name="connsiteX17" fmla="*/ 5192485 w 9149024"/>
                    <a:gd name="connsiteY17" fmla="*/ 1283478 h 3384421"/>
                    <a:gd name="connsiteX18" fmla="*/ 5704114 w 9149024"/>
                    <a:gd name="connsiteY18" fmla="*/ 1218164 h 3384421"/>
                    <a:gd name="connsiteX19" fmla="*/ 6890657 w 9149024"/>
                    <a:gd name="connsiteY19" fmla="*/ 1120192 h 3384421"/>
                    <a:gd name="connsiteX20" fmla="*/ 8022770 w 9149024"/>
                    <a:gd name="connsiteY20" fmla="*/ 946021 h 3384421"/>
                    <a:gd name="connsiteX21" fmla="*/ 7761514 w 9149024"/>
                    <a:gd name="connsiteY21" fmla="*/ 662992 h 3384421"/>
                    <a:gd name="connsiteX22" fmla="*/ 6466114 w 9149024"/>
                    <a:gd name="connsiteY22" fmla="*/ 401735 h 3384421"/>
                    <a:gd name="connsiteX23" fmla="*/ 5987142 w 9149024"/>
                    <a:gd name="connsiteY23" fmla="*/ 303764 h 3384421"/>
                    <a:gd name="connsiteX24" fmla="*/ 5976257 w 9149024"/>
                    <a:gd name="connsiteY24" fmla="*/ 260221 h 3384421"/>
                    <a:gd name="connsiteX25" fmla="*/ 6607628 w 9149024"/>
                    <a:gd name="connsiteY25" fmla="*/ 271106 h 3384421"/>
                    <a:gd name="connsiteX26" fmla="*/ 8447314 w 9149024"/>
                    <a:gd name="connsiteY26" fmla="*/ 268594 h 3384421"/>
                    <a:gd name="connsiteX27" fmla="*/ 9144837 w 9149024"/>
                    <a:gd name="connsiteY27" fmla="*/ 261895 h 3384421"/>
                    <a:gd name="connsiteX28" fmla="*/ 9149024 w 9149024"/>
                    <a:gd name="connsiteY28" fmla="*/ 20735 h 3384421"/>
                    <a:gd name="connsiteX29" fmla="*/ 8414657 w 9149024"/>
                    <a:gd name="connsiteY29" fmla="*/ 9849 h 3384421"/>
                    <a:gd name="connsiteX30" fmla="*/ 7783285 w 9149024"/>
                    <a:gd name="connsiteY30" fmla="*/ 9849 h 3384421"/>
                    <a:gd name="connsiteX31" fmla="*/ 6814457 w 9149024"/>
                    <a:gd name="connsiteY31" fmla="*/ 20735 h 3384421"/>
                    <a:gd name="connsiteX32" fmla="*/ 5867400 w 9149024"/>
                    <a:gd name="connsiteY32" fmla="*/ 31621 h 3384421"/>
                    <a:gd name="connsiteX33" fmla="*/ 5072742 w 9149024"/>
                    <a:gd name="connsiteY33" fmla="*/ 64277 h 3384421"/>
                    <a:gd name="connsiteX34" fmla="*/ 5029200 w 9149024"/>
                    <a:gd name="connsiteY34" fmla="*/ 303764 h 3384421"/>
                    <a:gd name="connsiteX35" fmla="*/ 5932714 w 9149024"/>
                    <a:gd name="connsiteY35" fmla="*/ 532364 h 3384421"/>
                    <a:gd name="connsiteX36" fmla="*/ 6444342 w 9149024"/>
                    <a:gd name="connsiteY36" fmla="*/ 619449 h 3384421"/>
                    <a:gd name="connsiteX37" fmla="*/ 6683828 w 9149024"/>
                    <a:gd name="connsiteY37" fmla="*/ 684764 h 3384421"/>
                    <a:gd name="connsiteX38" fmla="*/ 6574971 w 9149024"/>
                    <a:gd name="connsiteY38" fmla="*/ 771849 h 3384421"/>
                    <a:gd name="connsiteX39" fmla="*/ 5845628 w 9149024"/>
                    <a:gd name="connsiteY39" fmla="*/ 848049 h 3384421"/>
                    <a:gd name="connsiteX40" fmla="*/ 4942114 w 9149024"/>
                    <a:gd name="connsiteY40" fmla="*/ 935135 h 3384421"/>
                    <a:gd name="connsiteX41" fmla="*/ 4245428 w 9149024"/>
                    <a:gd name="connsiteY41" fmla="*/ 956906 h 3384421"/>
                    <a:gd name="connsiteX42" fmla="*/ 3374571 w 9149024"/>
                    <a:gd name="connsiteY42" fmla="*/ 1065764 h 3384421"/>
                    <a:gd name="connsiteX43" fmla="*/ 3265714 w 9149024"/>
                    <a:gd name="connsiteY43" fmla="*/ 1131078 h 3384421"/>
                    <a:gd name="connsiteX44" fmla="*/ 3265714 w 9149024"/>
                    <a:gd name="connsiteY44" fmla="*/ 1272592 h 3384421"/>
                    <a:gd name="connsiteX45" fmla="*/ 3614057 w 9149024"/>
                    <a:gd name="connsiteY45" fmla="*/ 1381449 h 3384421"/>
                    <a:gd name="connsiteX46" fmla="*/ 4604657 w 9149024"/>
                    <a:gd name="connsiteY46" fmla="*/ 1599164 h 3384421"/>
                    <a:gd name="connsiteX47" fmla="*/ 5529942 w 9149024"/>
                    <a:gd name="connsiteY47" fmla="*/ 1827764 h 3384421"/>
                    <a:gd name="connsiteX48" fmla="*/ 5867400 w 9149024"/>
                    <a:gd name="connsiteY48" fmla="*/ 1958392 h 3384421"/>
                    <a:gd name="connsiteX49" fmla="*/ 5998028 w 9149024"/>
                    <a:gd name="connsiteY49" fmla="*/ 2078135 h 3384421"/>
                    <a:gd name="connsiteX50" fmla="*/ 5780314 w 9149024"/>
                    <a:gd name="connsiteY50" fmla="*/ 2165221 h 3384421"/>
                    <a:gd name="connsiteX51" fmla="*/ 5236028 w 9149024"/>
                    <a:gd name="connsiteY51" fmla="*/ 2274078 h 3384421"/>
                    <a:gd name="connsiteX52" fmla="*/ 4147457 w 9149024"/>
                    <a:gd name="connsiteY52" fmla="*/ 2372049 h 3384421"/>
                    <a:gd name="connsiteX53" fmla="*/ 3113314 w 9149024"/>
                    <a:gd name="connsiteY53" fmla="*/ 2404706 h 3384421"/>
                    <a:gd name="connsiteX54" fmla="*/ 1915885 w 9149024"/>
                    <a:gd name="connsiteY54" fmla="*/ 2437364 h 3384421"/>
                    <a:gd name="connsiteX55" fmla="*/ 631371 w 9149024"/>
                    <a:gd name="connsiteY55" fmla="*/ 2459135 h 3384421"/>
                    <a:gd name="connsiteX56" fmla="*/ 239485 w 9149024"/>
                    <a:gd name="connsiteY56" fmla="*/ 2480906 h 3384421"/>
                    <a:gd name="connsiteX57" fmla="*/ 32657 w 9149024"/>
                    <a:gd name="connsiteY57" fmla="*/ 2459135 h 3384421"/>
                    <a:gd name="connsiteX58" fmla="*/ 32657 w 9149024"/>
                    <a:gd name="connsiteY58" fmla="*/ 2709506 h 3384421"/>
                    <a:gd name="connsiteX59" fmla="*/ 21771 w 9149024"/>
                    <a:gd name="connsiteY59" fmla="*/ 3123164 h 3384421"/>
                    <a:gd name="connsiteX60" fmla="*/ 0 w 9149024"/>
                    <a:gd name="connsiteY60" fmla="*/ 3384421 h 3384421"/>
                    <a:gd name="connsiteX0" fmla="*/ 0 w 9159909"/>
                    <a:gd name="connsiteY0" fmla="*/ 3384421 h 3384421"/>
                    <a:gd name="connsiteX1" fmla="*/ 740228 w 9159909"/>
                    <a:gd name="connsiteY1" fmla="*/ 3373535 h 3384421"/>
                    <a:gd name="connsiteX2" fmla="*/ 2394857 w 9159909"/>
                    <a:gd name="connsiteY2" fmla="*/ 3329992 h 3384421"/>
                    <a:gd name="connsiteX3" fmla="*/ 3951514 w 9159909"/>
                    <a:gd name="connsiteY3" fmla="*/ 3242906 h 3384421"/>
                    <a:gd name="connsiteX4" fmla="*/ 5431971 w 9159909"/>
                    <a:gd name="connsiteY4" fmla="*/ 3112278 h 3384421"/>
                    <a:gd name="connsiteX5" fmla="*/ 6161314 w 9159909"/>
                    <a:gd name="connsiteY5" fmla="*/ 2981649 h 3384421"/>
                    <a:gd name="connsiteX6" fmla="*/ 6912428 w 9159909"/>
                    <a:gd name="connsiteY6" fmla="*/ 2829249 h 3384421"/>
                    <a:gd name="connsiteX7" fmla="*/ 7456714 w 9159909"/>
                    <a:gd name="connsiteY7" fmla="*/ 2589764 h 3384421"/>
                    <a:gd name="connsiteX8" fmla="*/ 7761514 w 9159909"/>
                    <a:gd name="connsiteY8" fmla="*/ 2328506 h 3384421"/>
                    <a:gd name="connsiteX9" fmla="*/ 7783285 w 9159909"/>
                    <a:gd name="connsiteY9" fmla="*/ 2099906 h 3384421"/>
                    <a:gd name="connsiteX10" fmla="*/ 7707085 w 9159909"/>
                    <a:gd name="connsiteY10" fmla="*/ 1947507 h 3384421"/>
                    <a:gd name="connsiteX11" fmla="*/ 7478485 w 9159909"/>
                    <a:gd name="connsiteY11" fmla="*/ 1816878 h 3384421"/>
                    <a:gd name="connsiteX12" fmla="*/ 7032171 w 9159909"/>
                    <a:gd name="connsiteY12" fmla="*/ 1697135 h 3384421"/>
                    <a:gd name="connsiteX13" fmla="*/ 6313714 w 9159909"/>
                    <a:gd name="connsiteY13" fmla="*/ 1555621 h 3384421"/>
                    <a:gd name="connsiteX14" fmla="*/ 5671457 w 9159909"/>
                    <a:gd name="connsiteY14" fmla="*/ 1435878 h 3384421"/>
                    <a:gd name="connsiteX15" fmla="*/ 5421085 w 9159909"/>
                    <a:gd name="connsiteY15" fmla="*/ 1381449 h 3384421"/>
                    <a:gd name="connsiteX16" fmla="*/ 5170714 w 9159909"/>
                    <a:gd name="connsiteY16" fmla="*/ 1316135 h 3384421"/>
                    <a:gd name="connsiteX17" fmla="*/ 5192485 w 9159909"/>
                    <a:gd name="connsiteY17" fmla="*/ 1283478 h 3384421"/>
                    <a:gd name="connsiteX18" fmla="*/ 5704114 w 9159909"/>
                    <a:gd name="connsiteY18" fmla="*/ 1218164 h 3384421"/>
                    <a:gd name="connsiteX19" fmla="*/ 6890657 w 9159909"/>
                    <a:gd name="connsiteY19" fmla="*/ 1120192 h 3384421"/>
                    <a:gd name="connsiteX20" fmla="*/ 8022770 w 9159909"/>
                    <a:gd name="connsiteY20" fmla="*/ 946021 h 3384421"/>
                    <a:gd name="connsiteX21" fmla="*/ 7761514 w 9159909"/>
                    <a:gd name="connsiteY21" fmla="*/ 662992 h 3384421"/>
                    <a:gd name="connsiteX22" fmla="*/ 6466114 w 9159909"/>
                    <a:gd name="connsiteY22" fmla="*/ 401735 h 3384421"/>
                    <a:gd name="connsiteX23" fmla="*/ 5987142 w 9159909"/>
                    <a:gd name="connsiteY23" fmla="*/ 303764 h 3384421"/>
                    <a:gd name="connsiteX24" fmla="*/ 5976257 w 9159909"/>
                    <a:gd name="connsiteY24" fmla="*/ 260221 h 3384421"/>
                    <a:gd name="connsiteX25" fmla="*/ 6607628 w 9159909"/>
                    <a:gd name="connsiteY25" fmla="*/ 271106 h 3384421"/>
                    <a:gd name="connsiteX26" fmla="*/ 8447314 w 9159909"/>
                    <a:gd name="connsiteY26" fmla="*/ 268594 h 3384421"/>
                    <a:gd name="connsiteX27" fmla="*/ 9159909 w 9159909"/>
                    <a:gd name="connsiteY27" fmla="*/ 261895 h 3384421"/>
                    <a:gd name="connsiteX28" fmla="*/ 9149024 w 9159909"/>
                    <a:gd name="connsiteY28" fmla="*/ 20735 h 3384421"/>
                    <a:gd name="connsiteX29" fmla="*/ 8414657 w 9159909"/>
                    <a:gd name="connsiteY29" fmla="*/ 9849 h 3384421"/>
                    <a:gd name="connsiteX30" fmla="*/ 7783285 w 9159909"/>
                    <a:gd name="connsiteY30" fmla="*/ 9849 h 3384421"/>
                    <a:gd name="connsiteX31" fmla="*/ 6814457 w 9159909"/>
                    <a:gd name="connsiteY31" fmla="*/ 20735 h 3384421"/>
                    <a:gd name="connsiteX32" fmla="*/ 5867400 w 9159909"/>
                    <a:gd name="connsiteY32" fmla="*/ 31621 h 3384421"/>
                    <a:gd name="connsiteX33" fmla="*/ 5072742 w 9159909"/>
                    <a:gd name="connsiteY33" fmla="*/ 64277 h 3384421"/>
                    <a:gd name="connsiteX34" fmla="*/ 5029200 w 9159909"/>
                    <a:gd name="connsiteY34" fmla="*/ 303764 h 3384421"/>
                    <a:gd name="connsiteX35" fmla="*/ 5932714 w 9159909"/>
                    <a:gd name="connsiteY35" fmla="*/ 532364 h 3384421"/>
                    <a:gd name="connsiteX36" fmla="*/ 6444342 w 9159909"/>
                    <a:gd name="connsiteY36" fmla="*/ 619449 h 3384421"/>
                    <a:gd name="connsiteX37" fmla="*/ 6683828 w 9159909"/>
                    <a:gd name="connsiteY37" fmla="*/ 684764 h 3384421"/>
                    <a:gd name="connsiteX38" fmla="*/ 6574971 w 9159909"/>
                    <a:gd name="connsiteY38" fmla="*/ 771849 h 3384421"/>
                    <a:gd name="connsiteX39" fmla="*/ 5845628 w 9159909"/>
                    <a:gd name="connsiteY39" fmla="*/ 848049 h 3384421"/>
                    <a:gd name="connsiteX40" fmla="*/ 4942114 w 9159909"/>
                    <a:gd name="connsiteY40" fmla="*/ 935135 h 3384421"/>
                    <a:gd name="connsiteX41" fmla="*/ 4245428 w 9159909"/>
                    <a:gd name="connsiteY41" fmla="*/ 956906 h 3384421"/>
                    <a:gd name="connsiteX42" fmla="*/ 3374571 w 9159909"/>
                    <a:gd name="connsiteY42" fmla="*/ 1065764 h 3384421"/>
                    <a:gd name="connsiteX43" fmla="*/ 3265714 w 9159909"/>
                    <a:gd name="connsiteY43" fmla="*/ 1131078 h 3384421"/>
                    <a:gd name="connsiteX44" fmla="*/ 3265714 w 9159909"/>
                    <a:gd name="connsiteY44" fmla="*/ 1272592 h 3384421"/>
                    <a:gd name="connsiteX45" fmla="*/ 3614057 w 9159909"/>
                    <a:gd name="connsiteY45" fmla="*/ 1381449 h 3384421"/>
                    <a:gd name="connsiteX46" fmla="*/ 4604657 w 9159909"/>
                    <a:gd name="connsiteY46" fmla="*/ 1599164 h 3384421"/>
                    <a:gd name="connsiteX47" fmla="*/ 5529942 w 9159909"/>
                    <a:gd name="connsiteY47" fmla="*/ 1827764 h 3384421"/>
                    <a:gd name="connsiteX48" fmla="*/ 5867400 w 9159909"/>
                    <a:gd name="connsiteY48" fmla="*/ 1958392 h 3384421"/>
                    <a:gd name="connsiteX49" fmla="*/ 5998028 w 9159909"/>
                    <a:gd name="connsiteY49" fmla="*/ 2078135 h 3384421"/>
                    <a:gd name="connsiteX50" fmla="*/ 5780314 w 9159909"/>
                    <a:gd name="connsiteY50" fmla="*/ 2165221 h 3384421"/>
                    <a:gd name="connsiteX51" fmla="*/ 5236028 w 9159909"/>
                    <a:gd name="connsiteY51" fmla="*/ 2274078 h 3384421"/>
                    <a:gd name="connsiteX52" fmla="*/ 4147457 w 9159909"/>
                    <a:gd name="connsiteY52" fmla="*/ 2372049 h 3384421"/>
                    <a:gd name="connsiteX53" fmla="*/ 3113314 w 9159909"/>
                    <a:gd name="connsiteY53" fmla="*/ 2404706 h 3384421"/>
                    <a:gd name="connsiteX54" fmla="*/ 1915885 w 9159909"/>
                    <a:gd name="connsiteY54" fmla="*/ 2437364 h 3384421"/>
                    <a:gd name="connsiteX55" fmla="*/ 631371 w 9159909"/>
                    <a:gd name="connsiteY55" fmla="*/ 2459135 h 3384421"/>
                    <a:gd name="connsiteX56" fmla="*/ 239485 w 9159909"/>
                    <a:gd name="connsiteY56" fmla="*/ 2480906 h 3384421"/>
                    <a:gd name="connsiteX57" fmla="*/ 32657 w 9159909"/>
                    <a:gd name="connsiteY57" fmla="*/ 2459135 h 3384421"/>
                    <a:gd name="connsiteX58" fmla="*/ 32657 w 9159909"/>
                    <a:gd name="connsiteY58" fmla="*/ 2709506 h 3384421"/>
                    <a:gd name="connsiteX59" fmla="*/ 21771 w 9159909"/>
                    <a:gd name="connsiteY59" fmla="*/ 3123164 h 3384421"/>
                    <a:gd name="connsiteX60" fmla="*/ 0 w 9159909"/>
                    <a:gd name="connsiteY60" fmla="*/ 3384421 h 3384421"/>
                    <a:gd name="connsiteX0" fmla="*/ 0 w 9164097"/>
                    <a:gd name="connsiteY0" fmla="*/ 3391847 h 3391847"/>
                    <a:gd name="connsiteX1" fmla="*/ 740228 w 9164097"/>
                    <a:gd name="connsiteY1" fmla="*/ 3380961 h 3391847"/>
                    <a:gd name="connsiteX2" fmla="*/ 2394857 w 9164097"/>
                    <a:gd name="connsiteY2" fmla="*/ 3337418 h 3391847"/>
                    <a:gd name="connsiteX3" fmla="*/ 3951514 w 9164097"/>
                    <a:gd name="connsiteY3" fmla="*/ 3250332 h 3391847"/>
                    <a:gd name="connsiteX4" fmla="*/ 5431971 w 9164097"/>
                    <a:gd name="connsiteY4" fmla="*/ 3119704 h 3391847"/>
                    <a:gd name="connsiteX5" fmla="*/ 6161314 w 9164097"/>
                    <a:gd name="connsiteY5" fmla="*/ 2989075 h 3391847"/>
                    <a:gd name="connsiteX6" fmla="*/ 6912428 w 9164097"/>
                    <a:gd name="connsiteY6" fmla="*/ 2836675 h 3391847"/>
                    <a:gd name="connsiteX7" fmla="*/ 7456714 w 9164097"/>
                    <a:gd name="connsiteY7" fmla="*/ 2597190 h 3391847"/>
                    <a:gd name="connsiteX8" fmla="*/ 7761514 w 9164097"/>
                    <a:gd name="connsiteY8" fmla="*/ 2335932 h 3391847"/>
                    <a:gd name="connsiteX9" fmla="*/ 7783285 w 9164097"/>
                    <a:gd name="connsiteY9" fmla="*/ 2107332 h 3391847"/>
                    <a:gd name="connsiteX10" fmla="*/ 7707085 w 9164097"/>
                    <a:gd name="connsiteY10" fmla="*/ 1954933 h 3391847"/>
                    <a:gd name="connsiteX11" fmla="*/ 7478485 w 9164097"/>
                    <a:gd name="connsiteY11" fmla="*/ 1824304 h 3391847"/>
                    <a:gd name="connsiteX12" fmla="*/ 7032171 w 9164097"/>
                    <a:gd name="connsiteY12" fmla="*/ 1704561 h 3391847"/>
                    <a:gd name="connsiteX13" fmla="*/ 6313714 w 9164097"/>
                    <a:gd name="connsiteY13" fmla="*/ 1563047 h 3391847"/>
                    <a:gd name="connsiteX14" fmla="*/ 5671457 w 9164097"/>
                    <a:gd name="connsiteY14" fmla="*/ 1443304 h 3391847"/>
                    <a:gd name="connsiteX15" fmla="*/ 5421085 w 9164097"/>
                    <a:gd name="connsiteY15" fmla="*/ 1388875 h 3391847"/>
                    <a:gd name="connsiteX16" fmla="*/ 5170714 w 9164097"/>
                    <a:gd name="connsiteY16" fmla="*/ 1323561 h 3391847"/>
                    <a:gd name="connsiteX17" fmla="*/ 5192485 w 9164097"/>
                    <a:gd name="connsiteY17" fmla="*/ 1290904 h 3391847"/>
                    <a:gd name="connsiteX18" fmla="*/ 5704114 w 9164097"/>
                    <a:gd name="connsiteY18" fmla="*/ 1225590 h 3391847"/>
                    <a:gd name="connsiteX19" fmla="*/ 6890657 w 9164097"/>
                    <a:gd name="connsiteY19" fmla="*/ 1127618 h 3391847"/>
                    <a:gd name="connsiteX20" fmla="*/ 8022770 w 9164097"/>
                    <a:gd name="connsiteY20" fmla="*/ 953447 h 3391847"/>
                    <a:gd name="connsiteX21" fmla="*/ 7761514 w 9164097"/>
                    <a:gd name="connsiteY21" fmla="*/ 670418 h 3391847"/>
                    <a:gd name="connsiteX22" fmla="*/ 6466114 w 9164097"/>
                    <a:gd name="connsiteY22" fmla="*/ 409161 h 3391847"/>
                    <a:gd name="connsiteX23" fmla="*/ 5987142 w 9164097"/>
                    <a:gd name="connsiteY23" fmla="*/ 311190 h 3391847"/>
                    <a:gd name="connsiteX24" fmla="*/ 5976257 w 9164097"/>
                    <a:gd name="connsiteY24" fmla="*/ 267647 h 3391847"/>
                    <a:gd name="connsiteX25" fmla="*/ 6607628 w 9164097"/>
                    <a:gd name="connsiteY25" fmla="*/ 278532 h 3391847"/>
                    <a:gd name="connsiteX26" fmla="*/ 8447314 w 9164097"/>
                    <a:gd name="connsiteY26" fmla="*/ 276020 h 3391847"/>
                    <a:gd name="connsiteX27" fmla="*/ 9159909 w 9164097"/>
                    <a:gd name="connsiteY27" fmla="*/ 269321 h 3391847"/>
                    <a:gd name="connsiteX28" fmla="*/ 9164097 w 9164097"/>
                    <a:gd name="connsiteY28" fmla="*/ 18113 h 3391847"/>
                    <a:gd name="connsiteX29" fmla="*/ 8414657 w 9164097"/>
                    <a:gd name="connsiteY29" fmla="*/ 17275 h 3391847"/>
                    <a:gd name="connsiteX30" fmla="*/ 7783285 w 9164097"/>
                    <a:gd name="connsiteY30" fmla="*/ 17275 h 3391847"/>
                    <a:gd name="connsiteX31" fmla="*/ 6814457 w 9164097"/>
                    <a:gd name="connsiteY31" fmla="*/ 28161 h 3391847"/>
                    <a:gd name="connsiteX32" fmla="*/ 5867400 w 9164097"/>
                    <a:gd name="connsiteY32" fmla="*/ 39047 h 3391847"/>
                    <a:gd name="connsiteX33" fmla="*/ 5072742 w 9164097"/>
                    <a:gd name="connsiteY33" fmla="*/ 71703 h 3391847"/>
                    <a:gd name="connsiteX34" fmla="*/ 5029200 w 9164097"/>
                    <a:gd name="connsiteY34" fmla="*/ 311190 h 3391847"/>
                    <a:gd name="connsiteX35" fmla="*/ 5932714 w 9164097"/>
                    <a:gd name="connsiteY35" fmla="*/ 539790 h 3391847"/>
                    <a:gd name="connsiteX36" fmla="*/ 6444342 w 9164097"/>
                    <a:gd name="connsiteY36" fmla="*/ 626875 h 3391847"/>
                    <a:gd name="connsiteX37" fmla="*/ 6683828 w 9164097"/>
                    <a:gd name="connsiteY37" fmla="*/ 692190 h 3391847"/>
                    <a:gd name="connsiteX38" fmla="*/ 6574971 w 9164097"/>
                    <a:gd name="connsiteY38" fmla="*/ 779275 h 3391847"/>
                    <a:gd name="connsiteX39" fmla="*/ 5845628 w 9164097"/>
                    <a:gd name="connsiteY39" fmla="*/ 855475 h 3391847"/>
                    <a:gd name="connsiteX40" fmla="*/ 4942114 w 9164097"/>
                    <a:gd name="connsiteY40" fmla="*/ 942561 h 3391847"/>
                    <a:gd name="connsiteX41" fmla="*/ 4245428 w 9164097"/>
                    <a:gd name="connsiteY41" fmla="*/ 964332 h 3391847"/>
                    <a:gd name="connsiteX42" fmla="*/ 3374571 w 9164097"/>
                    <a:gd name="connsiteY42" fmla="*/ 1073190 h 3391847"/>
                    <a:gd name="connsiteX43" fmla="*/ 3265714 w 9164097"/>
                    <a:gd name="connsiteY43" fmla="*/ 1138504 h 3391847"/>
                    <a:gd name="connsiteX44" fmla="*/ 3265714 w 9164097"/>
                    <a:gd name="connsiteY44" fmla="*/ 1280018 h 3391847"/>
                    <a:gd name="connsiteX45" fmla="*/ 3614057 w 9164097"/>
                    <a:gd name="connsiteY45" fmla="*/ 1388875 h 3391847"/>
                    <a:gd name="connsiteX46" fmla="*/ 4604657 w 9164097"/>
                    <a:gd name="connsiteY46" fmla="*/ 1606590 h 3391847"/>
                    <a:gd name="connsiteX47" fmla="*/ 5529942 w 9164097"/>
                    <a:gd name="connsiteY47" fmla="*/ 1835190 h 3391847"/>
                    <a:gd name="connsiteX48" fmla="*/ 5867400 w 9164097"/>
                    <a:gd name="connsiteY48" fmla="*/ 1965818 h 3391847"/>
                    <a:gd name="connsiteX49" fmla="*/ 5998028 w 9164097"/>
                    <a:gd name="connsiteY49" fmla="*/ 2085561 h 3391847"/>
                    <a:gd name="connsiteX50" fmla="*/ 5780314 w 9164097"/>
                    <a:gd name="connsiteY50" fmla="*/ 2172647 h 3391847"/>
                    <a:gd name="connsiteX51" fmla="*/ 5236028 w 9164097"/>
                    <a:gd name="connsiteY51" fmla="*/ 2281504 h 3391847"/>
                    <a:gd name="connsiteX52" fmla="*/ 4147457 w 9164097"/>
                    <a:gd name="connsiteY52" fmla="*/ 2379475 h 3391847"/>
                    <a:gd name="connsiteX53" fmla="*/ 3113314 w 9164097"/>
                    <a:gd name="connsiteY53" fmla="*/ 2412132 h 3391847"/>
                    <a:gd name="connsiteX54" fmla="*/ 1915885 w 9164097"/>
                    <a:gd name="connsiteY54" fmla="*/ 2444790 h 3391847"/>
                    <a:gd name="connsiteX55" fmla="*/ 631371 w 9164097"/>
                    <a:gd name="connsiteY55" fmla="*/ 2466561 h 3391847"/>
                    <a:gd name="connsiteX56" fmla="*/ 239485 w 9164097"/>
                    <a:gd name="connsiteY56" fmla="*/ 2488332 h 3391847"/>
                    <a:gd name="connsiteX57" fmla="*/ 32657 w 9164097"/>
                    <a:gd name="connsiteY57" fmla="*/ 2466561 h 3391847"/>
                    <a:gd name="connsiteX58" fmla="*/ 32657 w 9164097"/>
                    <a:gd name="connsiteY58" fmla="*/ 2716932 h 3391847"/>
                    <a:gd name="connsiteX59" fmla="*/ 21771 w 9164097"/>
                    <a:gd name="connsiteY59" fmla="*/ 3130590 h 3391847"/>
                    <a:gd name="connsiteX60" fmla="*/ 0 w 9164097"/>
                    <a:gd name="connsiteY60" fmla="*/ 3391847 h 3391847"/>
                    <a:gd name="connsiteX0" fmla="*/ 0 w 9164097"/>
                    <a:gd name="connsiteY0" fmla="*/ 3393009 h 3393009"/>
                    <a:gd name="connsiteX1" fmla="*/ 740228 w 9164097"/>
                    <a:gd name="connsiteY1" fmla="*/ 3382123 h 3393009"/>
                    <a:gd name="connsiteX2" fmla="*/ 2394857 w 9164097"/>
                    <a:gd name="connsiteY2" fmla="*/ 3338580 h 3393009"/>
                    <a:gd name="connsiteX3" fmla="*/ 3951514 w 9164097"/>
                    <a:gd name="connsiteY3" fmla="*/ 3251494 h 3393009"/>
                    <a:gd name="connsiteX4" fmla="*/ 5431971 w 9164097"/>
                    <a:gd name="connsiteY4" fmla="*/ 3120866 h 3393009"/>
                    <a:gd name="connsiteX5" fmla="*/ 6161314 w 9164097"/>
                    <a:gd name="connsiteY5" fmla="*/ 2990237 h 3393009"/>
                    <a:gd name="connsiteX6" fmla="*/ 6912428 w 9164097"/>
                    <a:gd name="connsiteY6" fmla="*/ 2837837 h 3393009"/>
                    <a:gd name="connsiteX7" fmla="*/ 7456714 w 9164097"/>
                    <a:gd name="connsiteY7" fmla="*/ 2598352 h 3393009"/>
                    <a:gd name="connsiteX8" fmla="*/ 7761514 w 9164097"/>
                    <a:gd name="connsiteY8" fmla="*/ 2337094 h 3393009"/>
                    <a:gd name="connsiteX9" fmla="*/ 7783285 w 9164097"/>
                    <a:gd name="connsiteY9" fmla="*/ 2108494 h 3393009"/>
                    <a:gd name="connsiteX10" fmla="*/ 7707085 w 9164097"/>
                    <a:gd name="connsiteY10" fmla="*/ 1956095 h 3393009"/>
                    <a:gd name="connsiteX11" fmla="*/ 7478485 w 9164097"/>
                    <a:gd name="connsiteY11" fmla="*/ 1825466 h 3393009"/>
                    <a:gd name="connsiteX12" fmla="*/ 7032171 w 9164097"/>
                    <a:gd name="connsiteY12" fmla="*/ 1705723 h 3393009"/>
                    <a:gd name="connsiteX13" fmla="*/ 6313714 w 9164097"/>
                    <a:gd name="connsiteY13" fmla="*/ 1564209 h 3393009"/>
                    <a:gd name="connsiteX14" fmla="*/ 5671457 w 9164097"/>
                    <a:gd name="connsiteY14" fmla="*/ 1444466 h 3393009"/>
                    <a:gd name="connsiteX15" fmla="*/ 5421085 w 9164097"/>
                    <a:gd name="connsiteY15" fmla="*/ 1390037 h 3393009"/>
                    <a:gd name="connsiteX16" fmla="*/ 5170714 w 9164097"/>
                    <a:gd name="connsiteY16" fmla="*/ 1324723 h 3393009"/>
                    <a:gd name="connsiteX17" fmla="*/ 5192485 w 9164097"/>
                    <a:gd name="connsiteY17" fmla="*/ 1292066 h 3393009"/>
                    <a:gd name="connsiteX18" fmla="*/ 5704114 w 9164097"/>
                    <a:gd name="connsiteY18" fmla="*/ 1226752 h 3393009"/>
                    <a:gd name="connsiteX19" fmla="*/ 6890657 w 9164097"/>
                    <a:gd name="connsiteY19" fmla="*/ 1128780 h 3393009"/>
                    <a:gd name="connsiteX20" fmla="*/ 8022770 w 9164097"/>
                    <a:gd name="connsiteY20" fmla="*/ 954609 h 3393009"/>
                    <a:gd name="connsiteX21" fmla="*/ 7761514 w 9164097"/>
                    <a:gd name="connsiteY21" fmla="*/ 671580 h 3393009"/>
                    <a:gd name="connsiteX22" fmla="*/ 6466114 w 9164097"/>
                    <a:gd name="connsiteY22" fmla="*/ 410323 h 3393009"/>
                    <a:gd name="connsiteX23" fmla="*/ 5987142 w 9164097"/>
                    <a:gd name="connsiteY23" fmla="*/ 312352 h 3393009"/>
                    <a:gd name="connsiteX24" fmla="*/ 5976257 w 9164097"/>
                    <a:gd name="connsiteY24" fmla="*/ 268809 h 3393009"/>
                    <a:gd name="connsiteX25" fmla="*/ 6607628 w 9164097"/>
                    <a:gd name="connsiteY25" fmla="*/ 279694 h 3393009"/>
                    <a:gd name="connsiteX26" fmla="*/ 8447314 w 9164097"/>
                    <a:gd name="connsiteY26" fmla="*/ 277182 h 3393009"/>
                    <a:gd name="connsiteX27" fmla="*/ 9159909 w 9164097"/>
                    <a:gd name="connsiteY27" fmla="*/ 270483 h 3393009"/>
                    <a:gd name="connsiteX28" fmla="*/ 9164097 w 9164097"/>
                    <a:gd name="connsiteY28" fmla="*/ 19275 h 3393009"/>
                    <a:gd name="connsiteX29" fmla="*/ 7783285 w 9164097"/>
                    <a:gd name="connsiteY29" fmla="*/ 18437 h 3393009"/>
                    <a:gd name="connsiteX30" fmla="*/ 6814457 w 9164097"/>
                    <a:gd name="connsiteY30" fmla="*/ 29323 h 3393009"/>
                    <a:gd name="connsiteX31" fmla="*/ 5867400 w 9164097"/>
                    <a:gd name="connsiteY31" fmla="*/ 40209 h 3393009"/>
                    <a:gd name="connsiteX32" fmla="*/ 5072742 w 9164097"/>
                    <a:gd name="connsiteY32" fmla="*/ 72865 h 3393009"/>
                    <a:gd name="connsiteX33" fmla="*/ 5029200 w 9164097"/>
                    <a:gd name="connsiteY33" fmla="*/ 312352 h 3393009"/>
                    <a:gd name="connsiteX34" fmla="*/ 5932714 w 9164097"/>
                    <a:gd name="connsiteY34" fmla="*/ 540952 h 3393009"/>
                    <a:gd name="connsiteX35" fmla="*/ 6444342 w 9164097"/>
                    <a:gd name="connsiteY35" fmla="*/ 628037 h 3393009"/>
                    <a:gd name="connsiteX36" fmla="*/ 6683828 w 9164097"/>
                    <a:gd name="connsiteY36" fmla="*/ 693352 h 3393009"/>
                    <a:gd name="connsiteX37" fmla="*/ 6574971 w 9164097"/>
                    <a:gd name="connsiteY37" fmla="*/ 780437 h 3393009"/>
                    <a:gd name="connsiteX38" fmla="*/ 5845628 w 9164097"/>
                    <a:gd name="connsiteY38" fmla="*/ 856637 h 3393009"/>
                    <a:gd name="connsiteX39" fmla="*/ 4942114 w 9164097"/>
                    <a:gd name="connsiteY39" fmla="*/ 943723 h 3393009"/>
                    <a:gd name="connsiteX40" fmla="*/ 4245428 w 9164097"/>
                    <a:gd name="connsiteY40" fmla="*/ 965494 h 3393009"/>
                    <a:gd name="connsiteX41" fmla="*/ 3374571 w 9164097"/>
                    <a:gd name="connsiteY41" fmla="*/ 1074352 h 3393009"/>
                    <a:gd name="connsiteX42" fmla="*/ 3265714 w 9164097"/>
                    <a:gd name="connsiteY42" fmla="*/ 1139666 h 3393009"/>
                    <a:gd name="connsiteX43" fmla="*/ 3265714 w 9164097"/>
                    <a:gd name="connsiteY43" fmla="*/ 1281180 h 3393009"/>
                    <a:gd name="connsiteX44" fmla="*/ 3614057 w 9164097"/>
                    <a:gd name="connsiteY44" fmla="*/ 1390037 h 3393009"/>
                    <a:gd name="connsiteX45" fmla="*/ 4604657 w 9164097"/>
                    <a:gd name="connsiteY45" fmla="*/ 1607752 h 3393009"/>
                    <a:gd name="connsiteX46" fmla="*/ 5529942 w 9164097"/>
                    <a:gd name="connsiteY46" fmla="*/ 1836352 h 3393009"/>
                    <a:gd name="connsiteX47" fmla="*/ 5867400 w 9164097"/>
                    <a:gd name="connsiteY47" fmla="*/ 1966980 h 3393009"/>
                    <a:gd name="connsiteX48" fmla="*/ 5998028 w 9164097"/>
                    <a:gd name="connsiteY48" fmla="*/ 2086723 h 3393009"/>
                    <a:gd name="connsiteX49" fmla="*/ 5780314 w 9164097"/>
                    <a:gd name="connsiteY49" fmla="*/ 2173809 h 3393009"/>
                    <a:gd name="connsiteX50" fmla="*/ 5236028 w 9164097"/>
                    <a:gd name="connsiteY50" fmla="*/ 2282666 h 3393009"/>
                    <a:gd name="connsiteX51" fmla="*/ 4147457 w 9164097"/>
                    <a:gd name="connsiteY51" fmla="*/ 2380637 h 3393009"/>
                    <a:gd name="connsiteX52" fmla="*/ 3113314 w 9164097"/>
                    <a:gd name="connsiteY52" fmla="*/ 2413294 h 3393009"/>
                    <a:gd name="connsiteX53" fmla="*/ 1915885 w 9164097"/>
                    <a:gd name="connsiteY53" fmla="*/ 2445952 h 3393009"/>
                    <a:gd name="connsiteX54" fmla="*/ 631371 w 9164097"/>
                    <a:gd name="connsiteY54" fmla="*/ 2467723 h 3393009"/>
                    <a:gd name="connsiteX55" fmla="*/ 239485 w 9164097"/>
                    <a:gd name="connsiteY55" fmla="*/ 2489494 h 3393009"/>
                    <a:gd name="connsiteX56" fmla="*/ 32657 w 9164097"/>
                    <a:gd name="connsiteY56" fmla="*/ 2467723 h 3393009"/>
                    <a:gd name="connsiteX57" fmla="*/ 32657 w 9164097"/>
                    <a:gd name="connsiteY57" fmla="*/ 2718094 h 3393009"/>
                    <a:gd name="connsiteX58" fmla="*/ 21771 w 9164097"/>
                    <a:gd name="connsiteY58" fmla="*/ 3131752 h 3393009"/>
                    <a:gd name="connsiteX59" fmla="*/ 0 w 9164097"/>
                    <a:gd name="connsiteY59" fmla="*/ 3393009 h 3393009"/>
                    <a:gd name="connsiteX0" fmla="*/ 0 w 9164097"/>
                    <a:gd name="connsiteY0" fmla="*/ 3387187 h 3387187"/>
                    <a:gd name="connsiteX1" fmla="*/ 740228 w 9164097"/>
                    <a:gd name="connsiteY1" fmla="*/ 3376301 h 3387187"/>
                    <a:gd name="connsiteX2" fmla="*/ 2394857 w 9164097"/>
                    <a:gd name="connsiteY2" fmla="*/ 3332758 h 3387187"/>
                    <a:gd name="connsiteX3" fmla="*/ 3951514 w 9164097"/>
                    <a:gd name="connsiteY3" fmla="*/ 3245672 h 3387187"/>
                    <a:gd name="connsiteX4" fmla="*/ 5431971 w 9164097"/>
                    <a:gd name="connsiteY4" fmla="*/ 3115044 h 3387187"/>
                    <a:gd name="connsiteX5" fmla="*/ 6161314 w 9164097"/>
                    <a:gd name="connsiteY5" fmla="*/ 2984415 h 3387187"/>
                    <a:gd name="connsiteX6" fmla="*/ 6912428 w 9164097"/>
                    <a:gd name="connsiteY6" fmla="*/ 2832015 h 3387187"/>
                    <a:gd name="connsiteX7" fmla="*/ 7456714 w 9164097"/>
                    <a:gd name="connsiteY7" fmla="*/ 2592530 h 3387187"/>
                    <a:gd name="connsiteX8" fmla="*/ 7761514 w 9164097"/>
                    <a:gd name="connsiteY8" fmla="*/ 2331272 h 3387187"/>
                    <a:gd name="connsiteX9" fmla="*/ 7783285 w 9164097"/>
                    <a:gd name="connsiteY9" fmla="*/ 2102672 h 3387187"/>
                    <a:gd name="connsiteX10" fmla="*/ 7707085 w 9164097"/>
                    <a:gd name="connsiteY10" fmla="*/ 1950273 h 3387187"/>
                    <a:gd name="connsiteX11" fmla="*/ 7478485 w 9164097"/>
                    <a:gd name="connsiteY11" fmla="*/ 1819644 h 3387187"/>
                    <a:gd name="connsiteX12" fmla="*/ 7032171 w 9164097"/>
                    <a:gd name="connsiteY12" fmla="*/ 1699901 h 3387187"/>
                    <a:gd name="connsiteX13" fmla="*/ 6313714 w 9164097"/>
                    <a:gd name="connsiteY13" fmla="*/ 1558387 h 3387187"/>
                    <a:gd name="connsiteX14" fmla="*/ 5671457 w 9164097"/>
                    <a:gd name="connsiteY14" fmla="*/ 1438644 h 3387187"/>
                    <a:gd name="connsiteX15" fmla="*/ 5421085 w 9164097"/>
                    <a:gd name="connsiteY15" fmla="*/ 1384215 h 3387187"/>
                    <a:gd name="connsiteX16" fmla="*/ 5170714 w 9164097"/>
                    <a:gd name="connsiteY16" fmla="*/ 1318901 h 3387187"/>
                    <a:gd name="connsiteX17" fmla="*/ 5192485 w 9164097"/>
                    <a:gd name="connsiteY17" fmla="*/ 1286244 h 3387187"/>
                    <a:gd name="connsiteX18" fmla="*/ 5704114 w 9164097"/>
                    <a:gd name="connsiteY18" fmla="*/ 1220930 h 3387187"/>
                    <a:gd name="connsiteX19" fmla="*/ 6890657 w 9164097"/>
                    <a:gd name="connsiteY19" fmla="*/ 1122958 h 3387187"/>
                    <a:gd name="connsiteX20" fmla="*/ 8022770 w 9164097"/>
                    <a:gd name="connsiteY20" fmla="*/ 948787 h 3387187"/>
                    <a:gd name="connsiteX21" fmla="*/ 7761514 w 9164097"/>
                    <a:gd name="connsiteY21" fmla="*/ 665758 h 3387187"/>
                    <a:gd name="connsiteX22" fmla="*/ 6466114 w 9164097"/>
                    <a:gd name="connsiteY22" fmla="*/ 404501 h 3387187"/>
                    <a:gd name="connsiteX23" fmla="*/ 5987142 w 9164097"/>
                    <a:gd name="connsiteY23" fmla="*/ 306530 h 3387187"/>
                    <a:gd name="connsiteX24" fmla="*/ 5976257 w 9164097"/>
                    <a:gd name="connsiteY24" fmla="*/ 262987 h 3387187"/>
                    <a:gd name="connsiteX25" fmla="*/ 6607628 w 9164097"/>
                    <a:gd name="connsiteY25" fmla="*/ 273872 h 3387187"/>
                    <a:gd name="connsiteX26" fmla="*/ 8447314 w 9164097"/>
                    <a:gd name="connsiteY26" fmla="*/ 271360 h 3387187"/>
                    <a:gd name="connsiteX27" fmla="*/ 9159909 w 9164097"/>
                    <a:gd name="connsiteY27" fmla="*/ 264661 h 3387187"/>
                    <a:gd name="connsiteX28" fmla="*/ 9164097 w 9164097"/>
                    <a:gd name="connsiteY28" fmla="*/ 13453 h 3387187"/>
                    <a:gd name="connsiteX29" fmla="*/ 8727830 w 9164097"/>
                    <a:gd name="connsiteY29" fmla="*/ 42760 h 3387187"/>
                    <a:gd name="connsiteX30" fmla="*/ 6814457 w 9164097"/>
                    <a:gd name="connsiteY30" fmla="*/ 23501 h 3387187"/>
                    <a:gd name="connsiteX31" fmla="*/ 5867400 w 9164097"/>
                    <a:gd name="connsiteY31" fmla="*/ 34387 h 3387187"/>
                    <a:gd name="connsiteX32" fmla="*/ 5072742 w 9164097"/>
                    <a:gd name="connsiteY32" fmla="*/ 67043 h 3387187"/>
                    <a:gd name="connsiteX33" fmla="*/ 5029200 w 9164097"/>
                    <a:gd name="connsiteY33" fmla="*/ 306530 h 3387187"/>
                    <a:gd name="connsiteX34" fmla="*/ 5932714 w 9164097"/>
                    <a:gd name="connsiteY34" fmla="*/ 535130 h 3387187"/>
                    <a:gd name="connsiteX35" fmla="*/ 6444342 w 9164097"/>
                    <a:gd name="connsiteY35" fmla="*/ 622215 h 3387187"/>
                    <a:gd name="connsiteX36" fmla="*/ 6683828 w 9164097"/>
                    <a:gd name="connsiteY36" fmla="*/ 687530 h 3387187"/>
                    <a:gd name="connsiteX37" fmla="*/ 6574971 w 9164097"/>
                    <a:gd name="connsiteY37" fmla="*/ 774615 h 3387187"/>
                    <a:gd name="connsiteX38" fmla="*/ 5845628 w 9164097"/>
                    <a:gd name="connsiteY38" fmla="*/ 850815 h 3387187"/>
                    <a:gd name="connsiteX39" fmla="*/ 4942114 w 9164097"/>
                    <a:gd name="connsiteY39" fmla="*/ 937901 h 3387187"/>
                    <a:gd name="connsiteX40" fmla="*/ 4245428 w 9164097"/>
                    <a:gd name="connsiteY40" fmla="*/ 959672 h 3387187"/>
                    <a:gd name="connsiteX41" fmla="*/ 3374571 w 9164097"/>
                    <a:gd name="connsiteY41" fmla="*/ 1068530 h 3387187"/>
                    <a:gd name="connsiteX42" fmla="*/ 3265714 w 9164097"/>
                    <a:gd name="connsiteY42" fmla="*/ 1133844 h 3387187"/>
                    <a:gd name="connsiteX43" fmla="*/ 3265714 w 9164097"/>
                    <a:gd name="connsiteY43" fmla="*/ 1275358 h 3387187"/>
                    <a:gd name="connsiteX44" fmla="*/ 3614057 w 9164097"/>
                    <a:gd name="connsiteY44" fmla="*/ 1384215 h 3387187"/>
                    <a:gd name="connsiteX45" fmla="*/ 4604657 w 9164097"/>
                    <a:gd name="connsiteY45" fmla="*/ 1601930 h 3387187"/>
                    <a:gd name="connsiteX46" fmla="*/ 5529942 w 9164097"/>
                    <a:gd name="connsiteY46" fmla="*/ 1830530 h 3387187"/>
                    <a:gd name="connsiteX47" fmla="*/ 5867400 w 9164097"/>
                    <a:gd name="connsiteY47" fmla="*/ 1961158 h 3387187"/>
                    <a:gd name="connsiteX48" fmla="*/ 5998028 w 9164097"/>
                    <a:gd name="connsiteY48" fmla="*/ 2080901 h 3387187"/>
                    <a:gd name="connsiteX49" fmla="*/ 5780314 w 9164097"/>
                    <a:gd name="connsiteY49" fmla="*/ 2167987 h 3387187"/>
                    <a:gd name="connsiteX50" fmla="*/ 5236028 w 9164097"/>
                    <a:gd name="connsiteY50" fmla="*/ 2276844 h 3387187"/>
                    <a:gd name="connsiteX51" fmla="*/ 4147457 w 9164097"/>
                    <a:gd name="connsiteY51" fmla="*/ 2374815 h 3387187"/>
                    <a:gd name="connsiteX52" fmla="*/ 3113314 w 9164097"/>
                    <a:gd name="connsiteY52" fmla="*/ 2407472 h 3387187"/>
                    <a:gd name="connsiteX53" fmla="*/ 1915885 w 9164097"/>
                    <a:gd name="connsiteY53" fmla="*/ 2440130 h 3387187"/>
                    <a:gd name="connsiteX54" fmla="*/ 631371 w 9164097"/>
                    <a:gd name="connsiteY54" fmla="*/ 2461901 h 3387187"/>
                    <a:gd name="connsiteX55" fmla="*/ 239485 w 9164097"/>
                    <a:gd name="connsiteY55" fmla="*/ 2483672 h 3387187"/>
                    <a:gd name="connsiteX56" fmla="*/ 32657 w 9164097"/>
                    <a:gd name="connsiteY56" fmla="*/ 2461901 h 3387187"/>
                    <a:gd name="connsiteX57" fmla="*/ 32657 w 9164097"/>
                    <a:gd name="connsiteY57" fmla="*/ 2712272 h 3387187"/>
                    <a:gd name="connsiteX58" fmla="*/ 21771 w 9164097"/>
                    <a:gd name="connsiteY58" fmla="*/ 3125930 h 3387187"/>
                    <a:gd name="connsiteX59" fmla="*/ 0 w 9164097"/>
                    <a:gd name="connsiteY59" fmla="*/ 3387187 h 3387187"/>
                    <a:gd name="connsiteX0" fmla="*/ 0 w 9164097"/>
                    <a:gd name="connsiteY0" fmla="*/ 3386592 h 3386592"/>
                    <a:gd name="connsiteX1" fmla="*/ 740228 w 9164097"/>
                    <a:gd name="connsiteY1" fmla="*/ 3375706 h 3386592"/>
                    <a:gd name="connsiteX2" fmla="*/ 2394857 w 9164097"/>
                    <a:gd name="connsiteY2" fmla="*/ 3332163 h 3386592"/>
                    <a:gd name="connsiteX3" fmla="*/ 3951514 w 9164097"/>
                    <a:gd name="connsiteY3" fmla="*/ 3245077 h 3386592"/>
                    <a:gd name="connsiteX4" fmla="*/ 5431971 w 9164097"/>
                    <a:gd name="connsiteY4" fmla="*/ 3114449 h 3386592"/>
                    <a:gd name="connsiteX5" fmla="*/ 6161314 w 9164097"/>
                    <a:gd name="connsiteY5" fmla="*/ 2983820 h 3386592"/>
                    <a:gd name="connsiteX6" fmla="*/ 6912428 w 9164097"/>
                    <a:gd name="connsiteY6" fmla="*/ 2831420 h 3386592"/>
                    <a:gd name="connsiteX7" fmla="*/ 7456714 w 9164097"/>
                    <a:gd name="connsiteY7" fmla="*/ 2591935 h 3386592"/>
                    <a:gd name="connsiteX8" fmla="*/ 7761514 w 9164097"/>
                    <a:gd name="connsiteY8" fmla="*/ 2330677 h 3386592"/>
                    <a:gd name="connsiteX9" fmla="*/ 7783285 w 9164097"/>
                    <a:gd name="connsiteY9" fmla="*/ 2102077 h 3386592"/>
                    <a:gd name="connsiteX10" fmla="*/ 7707085 w 9164097"/>
                    <a:gd name="connsiteY10" fmla="*/ 1949678 h 3386592"/>
                    <a:gd name="connsiteX11" fmla="*/ 7478485 w 9164097"/>
                    <a:gd name="connsiteY11" fmla="*/ 1819049 h 3386592"/>
                    <a:gd name="connsiteX12" fmla="*/ 7032171 w 9164097"/>
                    <a:gd name="connsiteY12" fmla="*/ 1699306 h 3386592"/>
                    <a:gd name="connsiteX13" fmla="*/ 6313714 w 9164097"/>
                    <a:gd name="connsiteY13" fmla="*/ 1557792 h 3386592"/>
                    <a:gd name="connsiteX14" fmla="*/ 5671457 w 9164097"/>
                    <a:gd name="connsiteY14" fmla="*/ 1438049 h 3386592"/>
                    <a:gd name="connsiteX15" fmla="*/ 5421085 w 9164097"/>
                    <a:gd name="connsiteY15" fmla="*/ 1383620 h 3386592"/>
                    <a:gd name="connsiteX16" fmla="*/ 5170714 w 9164097"/>
                    <a:gd name="connsiteY16" fmla="*/ 1318306 h 3386592"/>
                    <a:gd name="connsiteX17" fmla="*/ 5192485 w 9164097"/>
                    <a:gd name="connsiteY17" fmla="*/ 1285649 h 3386592"/>
                    <a:gd name="connsiteX18" fmla="*/ 5704114 w 9164097"/>
                    <a:gd name="connsiteY18" fmla="*/ 1220335 h 3386592"/>
                    <a:gd name="connsiteX19" fmla="*/ 6890657 w 9164097"/>
                    <a:gd name="connsiteY19" fmla="*/ 1122363 h 3386592"/>
                    <a:gd name="connsiteX20" fmla="*/ 8022770 w 9164097"/>
                    <a:gd name="connsiteY20" fmla="*/ 948192 h 3386592"/>
                    <a:gd name="connsiteX21" fmla="*/ 7761514 w 9164097"/>
                    <a:gd name="connsiteY21" fmla="*/ 665163 h 3386592"/>
                    <a:gd name="connsiteX22" fmla="*/ 6466114 w 9164097"/>
                    <a:gd name="connsiteY22" fmla="*/ 403906 h 3386592"/>
                    <a:gd name="connsiteX23" fmla="*/ 5987142 w 9164097"/>
                    <a:gd name="connsiteY23" fmla="*/ 305935 h 3386592"/>
                    <a:gd name="connsiteX24" fmla="*/ 5976257 w 9164097"/>
                    <a:gd name="connsiteY24" fmla="*/ 262392 h 3386592"/>
                    <a:gd name="connsiteX25" fmla="*/ 6607628 w 9164097"/>
                    <a:gd name="connsiteY25" fmla="*/ 273277 h 3386592"/>
                    <a:gd name="connsiteX26" fmla="*/ 8447314 w 9164097"/>
                    <a:gd name="connsiteY26" fmla="*/ 270765 h 3386592"/>
                    <a:gd name="connsiteX27" fmla="*/ 9159909 w 9164097"/>
                    <a:gd name="connsiteY27" fmla="*/ 264066 h 3386592"/>
                    <a:gd name="connsiteX28" fmla="*/ 9164097 w 9164097"/>
                    <a:gd name="connsiteY28" fmla="*/ 12858 h 3386592"/>
                    <a:gd name="connsiteX29" fmla="*/ 8727830 w 9164097"/>
                    <a:gd name="connsiteY29" fmla="*/ 42165 h 3386592"/>
                    <a:gd name="connsiteX30" fmla="*/ 6814457 w 9164097"/>
                    <a:gd name="connsiteY30" fmla="*/ 22906 h 3386592"/>
                    <a:gd name="connsiteX31" fmla="*/ 5867400 w 9164097"/>
                    <a:gd name="connsiteY31" fmla="*/ 33792 h 3386592"/>
                    <a:gd name="connsiteX32" fmla="*/ 5072742 w 9164097"/>
                    <a:gd name="connsiteY32" fmla="*/ 66448 h 3386592"/>
                    <a:gd name="connsiteX33" fmla="*/ 5029200 w 9164097"/>
                    <a:gd name="connsiteY33" fmla="*/ 305935 h 3386592"/>
                    <a:gd name="connsiteX34" fmla="*/ 5932714 w 9164097"/>
                    <a:gd name="connsiteY34" fmla="*/ 534535 h 3386592"/>
                    <a:gd name="connsiteX35" fmla="*/ 6444342 w 9164097"/>
                    <a:gd name="connsiteY35" fmla="*/ 621620 h 3386592"/>
                    <a:gd name="connsiteX36" fmla="*/ 6683828 w 9164097"/>
                    <a:gd name="connsiteY36" fmla="*/ 686935 h 3386592"/>
                    <a:gd name="connsiteX37" fmla="*/ 6574971 w 9164097"/>
                    <a:gd name="connsiteY37" fmla="*/ 774020 h 3386592"/>
                    <a:gd name="connsiteX38" fmla="*/ 5845628 w 9164097"/>
                    <a:gd name="connsiteY38" fmla="*/ 850220 h 3386592"/>
                    <a:gd name="connsiteX39" fmla="*/ 4942114 w 9164097"/>
                    <a:gd name="connsiteY39" fmla="*/ 937306 h 3386592"/>
                    <a:gd name="connsiteX40" fmla="*/ 4245428 w 9164097"/>
                    <a:gd name="connsiteY40" fmla="*/ 959077 h 3386592"/>
                    <a:gd name="connsiteX41" fmla="*/ 3374571 w 9164097"/>
                    <a:gd name="connsiteY41" fmla="*/ 1067935 h 3386592"/>
                    <a:gd name="connsiteX42" fmla="*/ 3265714 w 9164097"/>
                    <a:gd name="connsiteY42" fmla="*/ 1133249 h 3386592"/>
                    <a:gd name="connsiteX43" fmla="*/ 3265714 w 9164097"/>
                    <a:gd name="connsiteY43" fmla="*/ 1274763 h 3386592"/>
                    <a:gd name="connsiteX44" fmla="*/ 3614057 w 9164097"/>
                    <a:gd name="connsiteY44" fmla="*/ 1383620 h 3386592"/>
                    <a:gd name="connsiteX45" fmla="*/ 4604657 w 9164097"/>
                    <a:gd name="connsiteY45" fmla="*/ 1601335 h 3386592"/>
                    <a:gd name="connsiteX46" fmla="*/ 5529942 w 9164097"/>
                    <a:gd name="connsiteY46" fmla="*/ 1829935 h 3386592"/>
                    <a:gd name="connsiteX47" fmla="*/ 5867400 w 9164097"/>
                    <a:gd name="connsiteY47" fmla="*/ 1960563 h 3386592"/>
                    <a:gd name="connsiteX48" fmla="*/ 5998028 w 9164097"/>
                    <a:gd name="connsiteY48" fmla="*/ 2080306 h 3386592"/>
                    <a:gd name="connsiteX49" fmla="*/ 5780314 w 9164097"/>
                    <a:gd name="connsiteY49" fmla="*/ 2167392 h 3386592"/>
                    <a:gd name="connsiteX50" fmla="*/ 5236028 w 9164097"/>
                    <a:gd name="connsiteY50" fmla="*/ 2276249 h 3386592"/>
                    <a:gd name="connsiteX51" fmla="*/ 4147457 w 9164097"/>
                    <a:gd name="connsiteY51" fmla="*/ 2374220 h 3386592"/>
                    <a:gd name="connsiteX52" fmla="*/ 3113314 w 9164097"/>
                    <a:gd name="connsiteY52" fmla="*/ 2406877 h 3386592"/>
                    <a:gd name="connsiteX53" fmla="*/ 1915885 w 9164097"/>
                    <a:gd name="connsiteY53" fmla="*/ 2439535 h 3386592"/>
                    <a:gd name="connsiteX54" fmla="*/ 631371 w 9164097"/>
                    <a:gd name="connsiteY54" fmla="*/ 2461306 h 3386592"/>
                    <a:gd name="connsiteX55" fmla="*/ 239485 w 9164097"/>
                    <a:gd name="connsiteY55" fmla="*/ 2483077 h 3386592"/>
                    <a:gd name="connsiteX56" fmla="*/ 32657 w 9164097"/>
                    <a:gd name="connsiteY56" fmla="*/ 2461306 h 3386592"/>
                    <a:gd name="connsiteX57" fmla="*/ 32657 w 9164097"/>
                    <a:gd name="connsiteY57" fmla="*/ 2711677 h 3386592"/>
                    <a:gd name="connsiteX58" fmla="*/ 21771 w 9164097"/>
                    <a:gd name="connsiteY58" fmla="*/ 3125335 h 3386592"/>
                    <a:gd name="connsiteX59" fmla="*/ 0 w 9164097"/>
                    <a:gd name="connsiteY59" fmla="*/ 3386592 h 3386592"/>
                    <a:gd name="connsiteX0" fmla="*/ 0 w 9164097"/>
                    <a:gd name="connsiteY0" fmla="*/ 3389949 h 3389949"/>
                    <a:gd name="connsiteX1" fmla="*/ 740228 w 9164097"/>
                    <a:gd name="connsiteY1" fmla="*/ 3379063 h 3389949"/>
                    <a:gd name="connsiteX2" fmla="*/ 2394857 w 9164097"/>
                    <a:gd name="connsiteY2" fmla="*/ 3335520 h 3389949"/>
                    <a:gd name="connsiteX3" fmla="*/ 3951514 w 9164097"/>
                    <a:gd name="connsiteY3" fmla="*/ 3248434 h 3389949"/>
                    <a:gd name="connsiteX4" fmla="*/ 5431971 w 9164097"/>
                    <a:gd name="connsiteY4" fmla="*/ 3117806 h 3389949"/>
                    <a:gd name="connsiteX5" fmla="*/ 6161314 w 9164097"/>
                    <a:gd name="connsiteY5" fmla="*/ 2987177 h 3389949"/>
                    <a:gd name="connsiteX6" fmla="*/ 6912428 w 9164097"/>
                    <a:gd name="connsiteY6" fmla="*/ 2834777 h 3389949"/>
                    <a:gd name="connsiteX7" fmla="*/ 7456714 w 9164097"/>
                    <a:gd name="connsiteY7" fmla="*/ 2595292 h 3389949"/>
                    <a:gd name="connsiteX8" fmla="*/ 7761514 w 9164097"/>
                    <a:gd name="connsiteY8" fmla="*/ 2334034 h 3389949"/>
                    <a:gd name="connsiteX9" fmla="*/ 7783285 w 9164097"/>
                    <a:gd name="connsiteY9" fmla="*/ 2105434 h 3389949"/>
                    <a:gd name="connsiteX10" fmla="*/ 7707085 w 9164097"/>
                    <a:gd name="connsiteY10" fmla="*/ 1953035 h 3389949"/>
                    <a:gd name="connsiteX11" fmla="*/ 7478485 w 9164097"/>
                    <a:gd name="connsiteY11" fmla="*/ 1822406 h 3389949"/>
                    <a:gd name="connsiteX12" fmla="*/ 7032171 w 9164097"/>
                    <a:gd name="connsiteY12" fmla="*/ 1702663 h 3389949"/>
                    <a:gd name="connsiteX13" fmla="*/ 6313714 w 9164097"/>
                    <a:gd name="connsiteY13" fmla="*/ 1561149 h 3389949"/>
                    <a:gd name="connsiteX14" fmla="*/ 5671457 w 9164097"/>
                    <a:gd name="connsiteY14" fmla="*/ 1441406 h 3389949"/>
                    <a:gd name="connsiteX15" fmla="*/ 5421085 w 9164097"/>
                    <a:gd name="connsiteY15" fmla="*/ 1386977 h 3389949"/>
                    <a:gd name="connsiteX16" fmla="*/ 5170714 w 9164097"/>
                    <a:gd name="connsiteY16" fmla="*/ 1321663 h 3389949"/>
                    <a:gd name="connsiteX17" fmla="*/ 5192485 w 9164097"/>
                    <a:gd name="connsiteY17" fmla="*/ 1289006 h 3389949"/>
                    <a:gd name="connsiteX18" fmla="*/ 5704114 w 9164097"/>
                    <a:gd name="connsiteY18" fmla="*/ 1223692 h 3389949"/>
                    <a:gd name="connsiteX19" fmla="*/ 6890657 w 9164097"/>
                    <a:gd name="connsiteY19" fmla="*/ 1125720 h 3389949"/>
                    <a:gd name="connsiteX20" fmla="*/ 8022770 w 9164097"/>
                    <a:gd name="connsiteY20" fmla="*/ 951549 h 3389949"/>
                    <a:gd name="connsiteX21" fmla="*/ 7761514 w 9164097"/>
                    <a:gd name="connsiteY21" fmla="*/ 668520 h 3389949"/>
                    <a:gd name="connsiteX22" fmla="*/ 6466114 w 9164097"/>
                    <a:gd name="connsiteY22" fmla="*/ 407263 h 3389949"/>
                    <a:gd name="connsiteX23" fmla="*/ 5987142 w 9164097"/>
                    <a:gd name="connsiteY23" fmla="*/ 309292 h 3389949"/>
                    <a:gd name="connsiteX24" fmla="*/ 5976257 w 9164097"/>
                    <a:gd name="connsiteY24" fmla="*/ 265749 h 3389949"/>
                    <a:gd name="connsiteX25" fmla="*/ 6607628 w 9164097"/>
                    <a:gd name="connsiteY25" fmla="*/ 276634 h 3389949"/>
                    <a:gd name="connsiteX26" fmla="*/ 8447314 w 9164097"/>
                    <a:gd name="connsiteY26" fmla="*/ 274122 h 3389949"/>
                    <a:gd name="connsiteX27" fmla="*/ 9159909 w 9164097"/>
                    <a:gd name="connsiteY27" fmla="*/ 267423 h 3389949"/>
                    <a:gd name="connsiteX28" fmla="*/ 9164097 w 9164097"/>
                    <a:gd name="connsiteY28" fmla="*/ 16215 h 3389949"/>
                    <a:gd name="connsiteX29" fmla="*/ 6814457 w 9164097"/>
                    <a:gd name="connsiteY29" fmla="*/ 26263 h 3389949"/>
                    <a:gd name="connsiteX30" fmla="*/ 5867400 w 9164097"/>
                    <a:gd name="connsiteY30" fmla="*/ 37149 h 3389949"/>
                    <a:gd name="connsiteX31" fmla="*/ 5072742 w 9164097"/>
                    <a:gd name="connsiteY31" fmla="*/ 69805 h 3389949"/>
                    <a:gd name="connsiteX32" fmla="*/ 5029200 w 9164097"/>
                    <a:gd name="connsiteY32" fmla="*/ 309292 h 3389949"/>
                    <a:gd name="connsiteX33" fmla="*/ 5932714 w 9164097"/>
                    <a:gd name="connsiteY33" fmla="*/ 537892 h 3389949"/>
                    <a:gd name="connsiteX34" fmla="*/ 6444342 w 9164097"/>
                    <a:gd name="connsiteY34" fmla="*/ 624977 h 3389949"/>
                    <a:gd name="connsiteX35" fmla="*/ 6683828 w 9164097"/>
                    <a:gd name="connsiteY35" fmla="*/ 690292 h 3389949"/>
                    <a:gd name="connsiteX36" fmla="*/ 6574971 w 9164097"/>
                    <a:gd name="connsiteY36" fmla="*/ 777377 h 3389949"/>
                    <a:gd name="connsiteX37" fmla="*/ 5845628 w 9164097"/>
                    <a:gd name="connsiteY37" fmla="*/ 853577 h 3389949"/>
                    <a:gd name="connsiteX38" fmla="*/ 4942114 w 9164097"/>
                    <a:gd name="connsiteY38" fmla="*/ 940663 h 3389949"/>
                    <a:gd name="connsiteX39" fmla="*/ 4245428 w 9164097"/>
                    <a:gd name="connsiteY39" fmla="*/ 962434 h 3389949"/>
                    <a:gd name="connsiteX40" fmla="*/ 3374571 w 9164097"/>
                    <a:gd name="connsiteY40" fmla="*/ 1071292 h 3389949"/>
                    <a:gd name="connsiteX41" fmla="*/ 3265714 w 9164097"/>
                    <a:gd name="connsiteY41" fmla="*/ 1136606 h 3389949"/>
                    <a:gd name="connsiteX42" fmla="*/ 3265714 w 9164097"/>
                    <a:gd name="connsiteY42" fmla="*/ 1278120 h 3389949"/>
                    <a:gd name="connsiteX43" fmla="*/ 3614057 w 9164097"/>
                    <a:gd name="connsiteY43" fmla="*/ 1386977 h 3389949"/>
                    <a:gd name="connsiteX44" fmla="*/ 4604657 w 9164097"/>
                    <a:gd name="connsiteY44" fmla="*/ 1604692 h 3389949"/>
                    <a:gd name="connsiteX45" fmla="*/ 5529942 w 9164097"/>
                    <a:gd name="connsiteY45" fmla="*/ 1833292 h 3389949"/>
                    <a:gd name="connsiteX46" fmla="*/ 5867400 w 9164097"/>
                    <a:gd name="connsiteY46" fmla="*/ 1963920 h 3389949"/>
                    <a:gd name="connsiteX47" fmla="*/ 5998028 w 9164097"/>
                    <a:gd name="connsiteY47" fmla="*/ 2083663 h 3389949"/>
                    <a:gd name="connsiteX48" fmla="*/ 5780314 w 9164097"/>
                    <a:gd name="connsiteY48" fmla="*/ 2170749 h 3389949"/>
                    <a:gd name="connsiteX49" fmla="*/ 5236028 w 9164097"/>
                    <a:gd name="connsiteY49" fmla="*/ 2279606 h 3389949"/>
                    <a:gd name="connsiteX50" fmla="*/ 4147457 w 9164097"/>
                    <a:gd name="connsiteY50" fmla="*/ 2377577 h 3389949"/>
                    <a:gd name="connsiteX51" fmla="*/ 3113314 w 9164097"/>
                    <a:gd name="connsiteY51" fmla="*/ 2410234 h 3389949"/>
                    <a:gd name="connsiteX52" fmla="*/ 1915885 w 9164097"/>
                    <a:gd name="connsiteY52" fmla="*/ 2442892 h 3389949"/>
                    <a:gd name="connsiteX53" fmla="*/ 631371 w 9164097"/>
                    <a:gd name="connsiteY53" fmla="*/ 2464663 h 3389949"/>
                    <a:gd name="connsiteX54" fmla="*/ 239485 w 9164097"/>
                    <a:gd name="connsiteY54" fmla="*/ 2486434 h 3389949"/>
                    <a:gd name="connsiteX55" fmla="*/ 32657 w 9164097"/>
                    <a:gd name="connsiteY55" fmla="*/ 2464663 h 3389949"/>
                    <a:gd name="connsiteX56" fmla="*/ 32657 w 9164097"/>
                    <a:gd name="connsiteY56" fmla="*/ 2715034 h 3389949"/>
                    <a:gd name="connsiteX57" fmla="*/ 21771 w 9164097"/>
                    <a:gd name="connsiteY57" fmla="*/ 3128692 h 3389949"/>
                    <a:gd name="connsiteX58" fmla="*/ 0 w 9164097"/>
                    <a:gd name="connsiteY58" fmla="*/ 3389949 h 3389949"/>
                    <a:gd name="connsiteX0" fmla="*/ 0 w 9164097"/>
                    <a:gd name="connsiteY0" fmla="*/ 3373734 h 3373734"/>
                    <a:gd name="connsiteX1" fmla="*/ 740228 w 9164097"/>
                    <a:gd name="connsiteY1" fmla="*/ 3362848 h 3373734"/>
                    <a:gd name="connsiteX2" fmla="*/ 2394857 w 9164097"/>
                    <a:gd name="connsiteY2" fmla="*/ 3319305 h 3373734"/>
                    <a:gd name="connsiteX3" fmla="*/ 3951514 w 9164097"/>
                    <a:gd name="connsiteY3" fmla="*/ 3232219 h 3373734"/>
                    <a:gd name="connsiteX4" fmla="*/ 5431971 w 9164097"/>
                    <a:gd name="connsiteY4" fmla="*/ 3101591 h 3373734"/>
                    <a:gd name="connsiteX5" fmla="*/ 6161314 w 9164097"/>
                    <a:gd name="connsiteY5" fmla="*/ 2970962 h 3373734"/>
                    <a:gd name="connsiteX6" fmla="*/ 6912428 w 9164097"/>
                    <a:gd name="connsiteY6" fmla="*/ 2818562 h 3373734"/>
                    <a:gd name="connsiteX7" fmla="*/ 7456714 w 9164097"/>
                    <a:gd name="connsiteY7" fmla="*/ 2579077 h 3373734"/>
                    <a:gd name="connsiteX8" fmla="*/ 7761514 w 9164097"/>
                    <a:gd name="connsiteY8" fmla="*/ 2317819 h 3373734"/>
                    <a:gd name="connsiteX9" fmla="*/ 7783285 w 9164097"/>
                    <a:gd name="connsiteY9" fmla="*/ 2089219 h 3373734"/>
                    <a:gd name="connsiteX10" fmla="*/ 7707085 w 9164097"/>
                    <a:gd name="connsiteY10" fmla="*/ 1936820 h 3373734"/>
                    <a:gd name="connsiteX11" fmla="*/ 7478485 w 9164097"/>
                    <a:gd name="connsiteY11" fmla="*/ 1806191 h 3373734"/>
                    <a:gd name="connsiteX12" fmla="*/ 7032171 w 9164097"/>
                    <a:gd name="connsiteY12" fmla="*/ 1686448 h 3373734"/>
                    <a:gd name="connsiteX13" fmla="*/ 6313714 w 9164097"/>
                    <a:gd name="connsiteY13" fmla="*/ 1544934 h 3373734"/>
                    <a:gd name="connsiteX14" fmla="*/ 5671457 w 9164097"/>
                    <a:gd name="connsiteY14" fmla="*/ 1425191 h 3373734"/>
                    <a:gd name="connsiteX15" fmla="*/ 5421085 w 9164097"/>
                    <a:gd name="connsiteY15" fmla="*/ 1370762 h 3373734"/>
                    <a:gd name="connsiteX16" fmla="*/ 5170714 w 9164097"/>
                    <a:gd name="connsiteY16" fmla="*/ 1305448 h 3373734"/>
                    <a:gd name="connsiteX17" fmla="*/ 5192485 w 9164097"/>
                    <a:gd name="connsiteY17" fmla="*/ 1272791 h 3373734"/>
                    <a:gd name="connsiteX18" fmla="*/ 5704114 w 9164097"/>
                    <a:gd name="connsiteY18" fmla="*/ 1207477 h 3373734"/>
                    <a:gd name="connsiteX19" fmla="*/ 6890657 w 9164097"/>
                    <a:gd name="connsiteY19" fmla="*/ 1109505 h 3373734"/>
                    <a:gd name="connsiteX20" fmla="*/ 8022770 w 9164097"/>
                    <a:gd name="connsiteY20" fmla="*/ 935334 h 3373734"/>
                    <a:gd name="connsiteX21" fmla="*/ 7761514 w 9164097"/>
                    <a:gd name="connsiteY21" fmla="*/ 652305 h 3373734"/>
                    <a:gd name="connsiteX22" fmla="*/ 6466114 w 9164097"/>
                    <a:gd name="connsiteY22" fmla="*/ 391048 h 3373734"/>
                    <a:gd name="connsiteX23" fmla="*/ 5987142 w 9164097"/>
                    <a:gd name="connsiteY23" fmla="*/ 293077 h 3373734"/>
                    <a:gd name="connsiteX24" fmla="*/ 5976257 w 9164097"/>
                    <a:gd name="connsiteY24" fmla="*/ 249534 h 3373734"/>
                    <a:gd name="connsiteX25" fmla="*/ 6607628 w 9164097"/>
                    <a:gd name="connsiteY25" fmla="*/ 260419 h 3373734"/>
                    <a:gd name="connsiteX26" fmla="*/ 8447314 w 9164097"/>
                    <a:gd name="connsiteY26" fmla="*/ 257907 h 3373734"/>
                    <a:gd name="connsiteX27" fmla="*/ 9159909 w 9164097"/>
                    <a:gd name="connsiteY27" fmla="*/ 251208 h 3373734"/>
                    <a:gd name="connsiteX28" fmla="*/ 9164097 w 9164097"/>
                    <a:gd name="connsiteY28" fmla="*/ 0 h 3373734"/>
                    <a:gd name="connsiteX29" fmla="*/ 6814457 w 9164097"/>
                    <a:gd name="connsiteY29" fmla="*/ 10048 h 3373734"/>
                    <a:gd name="connsiteX30" fmla="*/ 5867400 w 9164097"/>
                    <a:gd name="connsiteY30" fmla="*/ 20934 h 3373734"/>
                    <a:gd name="connsiteX31" fmla="*/ 5072742 w 9164097"/>
                    <a:gd name="connsiteY31" fmla="*/ 53590 h 3373734"/>
                    <a:gd name="connsiteX32" fmla="*/ 5029200 w 9164097"/>
                    <a:gd name="connsiteY32" fmla="*/ 293077 h 3373734"/>
                    <a:gd name="connsiteX33" fmla="*/ 5932714 w 9164097"/>
                    <a:gd name="connsiteY33" fmla="*/ 521677 h 3373734"/>
                    <a:gd name="connsiteX34" fmla="*/ 6444342 w 9164097"/>
                    <a:gd name="connsiteY34" fmla="*/ 608762 h 3373734"/>
                    <a:gd name="connsiteX35" fmla="*/ 6683828 w 9164097"/>
                    <a:gd name="connsiteY35" fmla="*/ 674077 h 3373734"/>
                    <a:gd name="connsiteX36" fmla="*/ 6574971 w 9164097"/>
                    <a:gd name="connsiteY36" fmla="*/ 761162 h 3373734"/>
                    <a:gd name="connsiteX37" fmla="*/ 5845628 w 9164097"/>
                    <a:gd name="connsiteY37" fmla="*/ 837362 h 3373734"/>
                    <a:gd name="connsiteX38" fmla="*/ 4942114 w 9164097"/>
                    <a:gd name="connsiteY38" fmla="*/ 924448 h 3373734"/>
                    <a:gd name="connsiteX39" fmla="*/ 4245428 w 9164097"/>
                    <a:gd name="connsiteY39" fmla="*/ 946219 h 3373734"/>
                    <a:gd name="connsiteX40" fmla="*/ 3374571 w 9164097"/>
                    <a:gd name="connsiteY40" fmla="*/ 1055077 h 3373734"/>
                    <a:gd name="connsiteX41" fmla="*/ 3265714 w 9164097"/>
                    <a:gd name="connsiteY41" fmla="*/ 1120391 h 3373734"/>
                    <a:gd name="connsiteX42" fmla="*/ 3265714 w 9164097"/>
                    <a:gd name="connsiteY42" fmla="*/ 1261905 h 3373734"/>
                    <a:gd name="connsiteX43" fmla="*/ 3614057 w 9164097"/>
                    <a:gd name="connsiteY43" fmla="*/ 1370762 h 3373734"/>
                    <a:gd name="connsiteX44" fmla="*/ 4604657 w 9164097"/>
                    <a:gd name="connsiteY44" fmla="*/ 1588477 h 3373734"/>
                    <a:gd name="connsiteX45" fmla="*/ 5529942 w 9164097"/>
                    <a:gd name="connsiteY45" fmla="*/ 1817077 h 3373734"/>
                    <a:gd name="connsiteX46" fmla="*/ 5867400 w 9164097"/>
                    <a:gd name="connsiteY46" fmla="*/ 1947705 h 3373734"/>
                    <a:gd name="connsiteX47" fmla="*/ 5998028 w 9164097"/>
                    <a:gd name="connsiteY47" fmla="*/ 2067448 h 3373734"/>
                    <a:gd name="connsiteX48" fmla="*/ 5780314 w 9164097"/>
                    <a:gd name="connsiteY48" fmla="*/ 2154534 h 3373734"/>
                    <a:gd name="connsiteX49" fmla="*/ 5236028 w 9164097"/>
                    <a:gd name="connsiteY49" fmla="*/ 2263391 h 3373734"/>
                    <a:gd name="connsiteX50" fmla="*/ 4147457 w 9164097"/>
                    <a:gd name="connsiteY50" fmla="*/ 2361362 h 3373734"/>
                    <a:gd name="connsiteX51" fmla="*/ 3113314 w 9164097"/>
                    <a:gd name="connsiteY51" fmla="*/ 2394019 h 3373734"/>
                    <a:gd name="connsiteX52" fmla="*/ 1915885 w 9164097"/>
                    <a:gd name="connsiteY52" fmla="*/ 2426677 h 3373734"/>
                    <a:gd name="connsiteX53" fmla="*/ 631371 w 9164097"/>
                    <a:gd name="connsiteY53" fmla="*/ 2448448 h 3373734"/>
                    <a:gd name="connsiteX54" fmla="*/ 239485 w 9164097"/>
                    <a:gd name="connsiteY54" fmla="*/ 2470219 h 3373734"/>
                    <a:gd name="connsiteX55" fmla="*/ 32657 w 9164097"/>
                    <a:gd name="connsiteY55" fmla="*/ 2448448 h 3373734"/>
                    <a:gd name="connsiteX56" fmla="*/ 32657 w 9164097"/>
                    <a:gd name="connsiteY56" fmla="*/ 2698819 h 3373734"/>
                    <a:gd name="connsiteX57" fmla="*/ 21771 w 9164097"/>
                    <a:gd name="connsiteY57" fmla="*/ 3112477 h 3373734"/>
                    <a:gd name="connsiteX58" fmla="*/ 0 w 9164097"/>
                    <a:gd name="connsiteY58"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8447314 w 9164933"/>
                    <a:gd name="connsiteY26" fmla="*/ 257907 h 3373734"/>
                    <a:gd name="connsiteX27" fmla="*/ 9164933 w 9164933"/>
                    <a:gd name="connsiteY27" fmla="*/ 256232 h 3373734"/>
                    <a:gd name="connsiteX28" fmla="*/ 9164097 w 9164933"/>
                    <a:gd name="connsiteY28" fmla="*/ 0 h 3373734"/>
                    <a:gd name="connsiteX29" fmla="*/ 6814457 w 9164933"/>
                    <a:gd name="connsiteY29" fmla="*/ 10048 h 3373734"/>
                    <a:gd name="connsiteX30" fmla="*/ 5867400 w 9164933"/>
                    <a:gd name="connsiteY30" fmla="*/ 20934 h 3373734"/>
                    <a:gd name="connsiteX31" fmla="*/ 5072742 w 9164933"/>
                    <a:gd name="connsiteY31" fmla="*/ 53590 h 3373734"/>
                    <a:gd name="connsiteX32" fmla="*/ 5029200 w 9164933"/>
                    <a:gd name="connsiteY32" fmla="*/ 293077 h 3373734"/>
                    <a:gd name="connsiteX33" fmla="*/ 5932714 w 9164933"/>
                    <a:gd name="connsiteY33" fmla="*/ 521677 h 3373734"/>
                    <a:gd name="connsiteX34" fmla="*/ 6444342 w 9164933"/>
                    <a:gd name="connsiteY34" fmla="*/ 608762 h 3373734"/>
                    <a:gd name="connsiteX35" fmla="*/ 6683828 w 9164933"/>
                    <a:gd name="connsiteY35" fmla="*/ 674077 h 3373734"/>
                    <a:gd name="connsiteX36" fmla="*/ 6574971 w 9164933"/>
                    <a:gd name="connsiteY36" fmla="*/ 761162 h 3373734"/>
                    <a:gd name="connsiteX37" fmla="*/ 5845628 w 9164933"/>
                    <a:gd name="connsiteY37" fmla="*/ 837362 h 3373734"/>
                    <a:gd name="connsiteX38" fmla="*/ 4942114 w 9164933"/>
                    <a:gd name="connsiteY38" fmla="*/ 924448 h 3373734"/>
                    <a:gd name="connsiteX39" fmla="*/ 4245428 w 9164933"/>
                    <a:gd name="connsiteY39" fmla="*/ 946219 h 3373734"/>
                    <a:gd name="connsiteX40" fmla="*/ 3374571 w 9164933"/>
                    <a:gd name="connsiteY40" fmla="*/ 1055077 h 3373734"/>
                    <a:gd name="connsiteX41" fmla="*/ 3265714 w 9164933"/>
                    <a:gd name="connsiteY41" fmla="*/ 1120391 h 3373734"/>
                    <a:gd name="connsiteX42" fmla="*/ 3265714 w 9164933"/>
                    <a:gd name="connsiteY42" fmla="*/ 1261905 h 3373734"/>
                    <a:gd name="connsiteX43" fmla="*/ 3614057 w 9164933"/>
                    <a:gd name="connsiteY43" fmla="*/ 1370762 h 3373734"/>
                    <a:gd name="connsiteX44" fmla="*/ 4604657 w 9164933"/>
                    <a:gd name="connsiteY44" fmla="*/ 1588477 h 3373734"/>
                    <a:gd name="connsiteX45" fmla="*/ 5529942 w 9164933"/>
                    <a:gd name="connsiteY45" fmla="*/ 1817077 h 3373734"/>
                    <a:gd name="connsiteX46" fmla="*/ 5867400 w 9164933"/>
                    <a:gd name="connsiteY46" fmla="*/ 1947705 h 3373734"/>
                    <a:gd name="connsiteX47" fmla="*/ 5998028 w 9164933"/>
                    <a:gd name="connsiteY47" fmla="*/ 2067448 h 3373734"/>
                    <a:gd name="connsiteX48" fmla="*/ 5780314 w 9164933"/>
                    <a:gd name="connsiteY48" fmla="*/ 2154534 h 3373734"/>
                    <a:gd name="connsiteX49" fmla="*/ 5236028 w 9164933"/>
                    <a:gd name="connsiteY49" fmla="*/ 2263391 h 3373734"/>
                    <a:gd name="connsiteX50" fmla="*/ 4147457 w 9164933"/>
                    <a:gd name="connsiteY50" fmla="*/ 2361362 h 3373734"/>
                    <a:gd name="connsiteX51" fmla="*/ 3113314 w 9164933"/>
                    <a:gd name="connsiteY51" fmla="*/ 2394019 h 3373734"/>
                    <a:gd name="connsiteX52" fmla="*/ 1915885 w 9164933"/>
                    <a:gd name="connsiteY52" fmla="*/ 2426677 h 3373734"/>
                    <a:gd name="connsiteX53" fmla="*/ 631371 w 9164933"/>
                    <a:gd name="connsiteY53" fmla="*/ 2448448 h 3373734"/>
                    <a:gd name="connsiteX54" fmla="*/ 239485 w 9164933"/>
                    <a:gd name="connsiteY54" fmla="*/ 2470219 h 3373734"/>
                    <a:gd name="connsiteX55" fmla="*/ 32657 w 9164933"/>
                    <a:gd name="connsiteY55" fmla="*/ 2448448 h 3373734"/>
                    <a:gd name="connsiteX56" fmla="*/ 32657 w 9164933"/>
                    <a:gd name="connsiteY56" fmla="*/ 2698819 h 3373734"/>
                    <a:gd name="connsiteX57" fmla="*/ 21771 w 9164933"/>
                    <a:gd name="connsiteY57" fmla="*/ 3112477 h 3373734"/>
                    <a:gd name="connsiteX58" fmla="*/ 0 w 9164933"/>
                    <a:gd name="connsiteY58"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8447314 w 9164933"/>
                    <a:gd name="connsiteY26" fmla="*/ 257907 h 3373734"/>
                    <a:gd name="connsiteX27" fmla="*/ 9164933 w 9164933"/>
                    <a:gd name="connsiteY27" fmla="*/ 241160 h 3373734"/>
                    <a:gd name="connsiteX28" fmla="*/ 9164097 w 9164933"/>
                    <a:gd name="connsiteY28" fmla="*/ 0 h 3373734"/>
                    <a:gd name="connsiteX29" fmla="*/ 6814457 w 9164933"/>
                    <a:gd name="connsiteY29" fmla="*/ 10048 h 3373734"/>
                    <a:gd name="connsiteX30" fmla="*/ 5867400 w 9164933"/>
                    <a:gd name="connsiteY30" fmla="*/ 20934 h 3373734"/>
                    <a:gd name="connsiteX31" fmla="*/ 5072742 w 9164933"/>
                    <a:gd name="connsiteY31" fmla="*/ 53590 h 3373734"/>
                    <a:gd name="connsiteX32" fmla="*/ 5029200 w 9164933"/>
                    <a:gd name="connsiteY32" fmla="*/ 293077 h 3373734"/>
                    <a:gd name="connsiteX33" fmla="*/ 5932714 w 9164933"/>
                    <a:gd name="connsiteY33" fmla="*/ 521677 h 3373734"/>
                    <a:gd name="connsiteX34" fmla="*/ 6444342 w 9164933"/>
                    <a:gd name="connsiteY34" fmla="*/ 608762 h 3373734"/>
                    <a:gd name="connsiteX35" fmla="*/ 6683828 w 9164933"/>
                    <a:gd name="connsiteY35" fmla="*/ 674077 h 3373734"/>
                    <a:gd name="connsiteX36" fmla="*/ 6574971 w 9164933"/>
                    <a:gd name="connsiteY36" fmla="*/ 761162 h 3373734"/>
                    <a:gd name="connsiteX37" fmla="*/ 5845628 w 9164933"/>
                    <a:gd name="connsiteY37" fmla="*/ 837362 h 3373734"/>
                    <a:gd name="connsiteX38" fmla="*/ 4942114 w 9164933"/>
                    <a:gd name="connsiteY38" fmla="*/ 924448 h 3373734"/>
                    <a:gd name="connsiteX39" fmla="*/ 4245428 w 9164933"/>
                    <a:gd name="connsiteY39" fmla="*/ 946219 h 3373734"/>
                    <a:gd name="connsiteX40" fmla="*/ 3374571 w 9164933"/>
                    <a:gd name="connsiteY40" fmla="*/ 1055077 h 3373734"/>
                    <a:gd name="connsiteX41" fmla="*/ 3265714 w 9164933"/>
                    <a:gd name="connsiteY41" fmla="*/ 1120391 h 3373734"/>
                    <a:gd name="connsiteX42" fmla="*/ 3265714 w 9164933"/>
                    <a:gd name="connsiteY42" fmla="*/ 1261905 h 3373734"/>
                    <a:gd name="connsiteX43" fmla="*/ 3614057 w 9164933"/>
                    <a:gd name="connsiteY43" fmla="*/ 1370762 h 3373734"/>
                    <a:gd name="connsiteX44" fmla="*/ 4604657 w 9164933"/>
                    <a:gd name="connsiteY44" fmla="*/ 1588477 h 3373734"/>
                    <a:gd name="connsiteX45" fmla="*/ 5529942 w 9164933"/>
                    <a:gd name="connsiteY45" fmla="*/ 1817077 h 3373734"/>
                    <a:gd name="connsiteX46" fmla="*/ 5867400 w 9164933"/>
                    <a:gd name="connsiteY46" fmla="*/ 1947705 h 3373734"/>
                    <a:gd name="connsiteX47" fmla="*/ 5998028 w 9164933"/>
                    <a:gd name="connsiteY47" fmla="*/ 2067448 h 3373734"/>
                    <a:gd name="connsiteX48" fmla="*/ 5780314 w 9164933"/>
                    <a:gd name="connsiteY48" fmla="*/ 2154534 h 3373734"/>
                    <a:gd name="connsiteX49" fmla="*/ 5236028 w 9164933"/>
                    <a:gd name="connsiteY49" fmla="*/ 2263391 h 3373734"/>
                    <a:gd name="connsiteX50" fmla="*/ 4147457 w 9164933"/>
                    <a:gd name="connsiteY50" fmla="*/ 2361362 h 3373734"/>
                    <a:gd name="connsiteX51" fmla="*/ 3113314 w 9164933"/>
                    <a:gd name="connsiteY51" fmla="*/ 2394019 h 3373734"/>
                    <a:gd name="connsiteX52" fmla="*/ 1915885 w 9164933"/>
                    <a:gd name="connsiteY52" fmla="*/ 2426677 h 3373734"/>
                    <a:gd name="connsiteX53" fmla="*/ 631371 w 9164933"/>
                    <a:gd name="connsiteY53" fmla="*/ 2448448 h 3373734"/>
                    <a:gd name="connsiteX54" fmla="*/ 239485 w 9164933"/>
                    <a:gd name="connsiteY54" fmla="*/ 2470219 h 3373734"/>
                    <a:gd name="connsiteX55" fmla="*/ 32657 w 9164933"/>
                    <a:gd name="connsiteY55" fmla="*/ 2448448 h 3373734"/>
                    <a:gd name="connsiteX56" fmla="*/ 32657 w 9164933"/>
                    <a:gd name="connsiteY56" fmla="*/ 2698819 h 3373734"/>
                    <a:gd name="connsiteX57" fmla="*/ 21771 w 9164933"/>
                    <a:gd name="connsiteY57" fmla="*/ 3112477 h 3373734"/>
                    <a:gd name="connsiteX58" fmla="*/ 0 w 9164933"/>
                    <a:gd name="connsiteY58"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8447314 w 9164933"/>
                    <a:gd name="connsiteY26" fmla="*/ 257907 h 3373734"/>
                    <a:gd name="connsiteX27" fmla="*/ 9164933 w 9164933"/>
                    <a:gd name="connsiteY27" fmla="*/ 251208 h 3373734"/>
                    <a:gd name="connsiteX28" fmla="*/ 9164097 w 9164933"/>
                    <a:gd name="connsiteY28" fmla="*/ 0 h 3373734"/>
                    <a:gd name="connsiteX29" fmla="*/ 6814457 w 9164933"/>
                    <a:gd name="connsiteY29" fmla="*/ 10048 h 3373734"/>
                    <a:gd name="connsiteX30" fmla="*/ 5867400 w 9164933"/>
                    <a:gd name="connsiteY30" fmla="*/ 20934 h 3373734"/>
                    <a:gd name="connsiteX31" fmla="*/ 5072742 w 9164933"/>
                    <a:gd name="connsiteY31" fmla="*/ 53590 h 3373734"/>
                    <a:gd name="connsiteX32" fmla="*/ 5029200 w 9164933"/>
                    <a:gd name="connsiteY32" fmla="*/ 293077 h 3373734"/>
                    <a:gd name="connsiteX33" fmla="*/ 5932714 w 9164933"/>
                    <a:gd name="connsiteY33" fmla="*/ 521677 h 3373734"/>
                    <a:gd name="connsiteX34" fmla="*/ 6444342 w 9164933"/>
                    <a:gd name="connsiteY34" fmla="*/ 608762 h 3373734"/>
                    <a:gd name="connsiteX35" fmla="*/ 6683828 w 9164933"/>
                    <a:gd name="connsiteY35" fmla="*/ 674077 h 3373734"/>
                    <a:gd name="connsiteX36" fmla="*/ 6574971 w 9164933"/>
                    <a:gd name="connsiteY36" fmla="*/ 761162 h 3373734"/>
                    <a:gd name="connsiteX37" fmla="*/ 5845628 w 9164933"/>
                    <a:gd name="connsiteY37" fmla="*/ 837362 h 3373734"/>
                    <a:gd name="connsiteX38" fmla="*/ 4942114 w 9164933"/>
                    <a:gd name="connsiteY38" fmla="*/ 924448 h 3373734"/>
                    <a:gd name="connsiteX39" fmla="*/ 4245428 w 9164933"/>
                    <a:gd name="connsiteY39" fmla="*/ 946219 h 3373734"/>
                    <a:gd name="connsiteX40" fmla="*/ 3374571 w 9164933"/>
                    <a:gd name="connsiteY40" fmla="*/ 1055077 h 3373734"/>
                    <a:gd name="connsiteX41" fmla="*/ 3265714 w 9164933"/>
                    <a:gd name="connsiteY41" fmla="*/ 1120391 h 3373734"/>
                    <a:gd name="connsiteX42" fmla="*/ 3265714 w 9164933"/>
                    <a:gd name="connsiteY42" fmla="*/ 1261905 h 3373734"/>
                    <a:gd name="connsiteX43" fmla="*/ 3614057 w 9164933"/>
                    <a:gd name="connsiteY43" fmla="*/ 1370762 h 3373734"/>
                    <a:gd name="connsiteX44" fmla="*/ 4604657 w 9164933"/>
                    <a:gd name="connsiteY44" fmla="*/ 1588477 h 3373734"/>
                    <a:gd name="connsiteX45" fmla="*/ 5529942 w 9164933"/>
                    <a:gd name="connsiteY45" fmla="*/ 1817077 h 3373734"/>
                    <a:gd name="connsiteX46" fmla="*/ 5867400 w 9164933"/>
                    <a:gd name="connsiteY46" fmla="*/ 1947705 h 3373734"/>
                    <a:gd name="connsiteX47" fmla="*/ 5998028 w 9164933"/>
                    <a:gd name="connsiteY47" fmla="*/ 2067448 h 3373734"/>
                    <a:gd name="connsiteX48" fmla="*/ 5780314 w 9164933"/>
                    <a:gd name="connsiteY48" fmla="*/ 2154534 h 3373734"/>
                    <a:gd name="connsiteX49" fmla="*/ 5236028 w 9164933"/>
                    <a:gd name="connsiteY49" fmla="*/ 2263391 h 3373734"/>
                    <a:gd name="connsiteX50" fmla="*/ 4147457 w 9164933"/>
                    <a:gd name="connsiteY50" fmla="*/ 2361362 h 3373734"/>
                    <a:gd name="connsiteX51" fmla="*/ 3113314 w 9164933"/>
                    <a:gd name="connsiteY51" fmla="*/ 2394019 h 3373734"/>
                    <a:gd name="connsiteX52" fmla="*/ 1915885 w 9164933"/>
                    <a:gd name="connsiteY52" fmla="*/ 2426677 h 3373734"/>
                    <a:gd name="connsiteX53" fmla="*/ 631371 w 9164933"/>
                    <a:gd name="connsiteY53" fmla="*/ 2448448 h 3373734"/>
                    <a:gd name="connsiteX54" fmla="*/ 239485 w 9164933"/>
                    <a:gd name="connsiteY54" fmla="*/ 2470219 h 3373734"/>
                    <a:gd name="connsiteX55" fmla="*/ 32657 w 9164933"/>
                    <a:gd name="connsiteY55" fmla="*/ 2448448 h 3373734"/>
                    <a:gd name="connsiteX56" fmla="*/ 32657 w 9164933"/>
                    <a:gd name="connsiteY56" fmla="*/ 2698819 h 3373734"/>
                    <a:gd name="connsiteX57" fmla="*/ 21771 w 9164933"/>
                    <a:gd name="connsiteY57" fmla="*/ 3112477 h 3373734"/>
                    <a:gd name="connsiteX58" fmla="*/ 0 w 9164933"/>
                    <a:gd name="connsiteY58"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1208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444342 w 9164933"/>
                    <a:gd name="connsiteY33" fmla="*/ 608762 h 3373734"/>
                    <a:gd name="connsiteX34" fmla="*/ 6683828 w 9164933"/>
                    <a:gd name="connsiteY34" fmla="*/ 674077 h 3373734"/>
                    <a:gd name="connsiteX35" fmla="*/ 6574971 w 9164933"/>
                    <a:gd name="connsiteY35" fmla="*/ 761162 h 3373734"/>
                    <a:gd name="connsiteX36" fmla="*/ 5845628 w 9164933"/>
                    <a:gd name="connsiteY36" fmla="*/ 837362 h 3373734"/>
                    <a:gd name="connsiteX37" fmla="*/ 4942114 w 9164933"/>
                    <a:gd name="connsiteY37" fmla="*/ 924448 h 3373734"/>
                    <a:gd name="connsiteX38" fmla="*/ 4245428 w 9164933"/>
                    <a:gd name="connsiteY38" fmla="*/ 946219 h 3373734"/>
                    <a:gd name="connsiteX39" fmla="*/ 3374571 w 9164933"/>
                    <a:gd name="connsiteY39" fmla="*/ 1055077 h 3373734"/>
                    <a:gd name="connsiteX40" fmla="*/ 3265714 w 9164933"/>
                    <a:gd name="connsiteY40" fmla="*/ 1120391 h 3373734"/>
                    <a:gd name="connsiteX41" fmla="*/ 3265714 w 9164933"/>
                    <a:gd name="connsiteY41" fmla="*/ 1261905 h 3373734"/>
                    <a:gd name="connsiteX42" fmla="*/ 3614057 w 9164933"/>
                    <a:gd name="connsiteY42" fmla="*/ 1370762 h 3373734"/>
                    <a:gd name="connsiteX43" fmla="*/ 4604657 w 9164933"/>
                    <a:gd name="connsiteY43" fmla="*/ 1588477 h 3373734"/>
                    <a:gd name="connsiteX44" fmla="*/ 5529942 w 9164933"/>
                    <a:gd name="connsiteY44" fmla="*/ 1817077 h 3373734"/>
                    <a:gd name="connsiteX45" fmla="*/ 5867400 w 9164933"/>
                    <a:gd name="connsiteY45" fmla="*/ 1947705 h 3373734"/>
                    <a:gd name="connsiteX46" fmla="*/ 5998028 w 9164933"/>
                    <a:gd name="connsiteY46" fmla="*/ 2067448 h 3373734"/>
                    <a:gd name="connsiteX47" fmla="*/ 5780314 w 9164933"/>
                    <a:gd name="connsiteY47" fmla="*/ 2154534 h 3373734"/>
                    <a:gd name="connsiteX48" fmla="*/ 5236028 w 9164933"/>
                    <a:gd name="connsiteY48" fmla="*/ 2263391 h 3373734"/>
                    <a:gd name="connsiteX49" fmla="*/ 4147457 w 9164933"/>
                    <a:gd name="connsiteY49" fmla="*/ 2361362 h 3373734"/>
                    <a:gd name="connsiteX50" fmla="*/ 3113314 w 9164933"/>
                    <a:gd name="connsiteY50" fmla="*/ 2394019 h 3373734"/>
                    <a:gd name="connsiteX51" fmla="*/ 1915885 w 9164933"/>
                    <a:gd name="connsiteY51" fmla="*/ 2426677 h 3373734"/>
                    <a:gd name="connsiteX52" fmla="*/ 631371 w 9164933"/>
                    <a:gd name="connsiteY52" fmla="*/ 2448448 h 3373734"/>
                    <a:gd name="connsiteX53" fmla="*/ 239485 w 9164933"/>
                    <a:gd name="connsiteY53" fmla="*/ 2470219 h 3373734"/>
                    <a:gd name="connsiteX54" fmla="*/ 32657 w 9164933"/>
                    <a:gd name="connsiteY54" fmla="*/ 2448448 h 3373734"/>
                    <a:gd name="connsiteX55" fmla="*/ 32657 w 9164933"/>
                    <a:gd name="connsiteY55" fmla="*/ 2698819 h 3373734"/>
                    <a:gd name="connsiteX56" fmla="*/ 21771 w 9164933"/>
                    <a:gd name="connsiteY56" fmla="*/ 3112477 h 3373734"/>
                    <a:gd name="connsiteX57" fmla="*/ 0 w 9164933"/>
                    <a:gd name="connsiteY57" fmla="*/ 3373734 h 3373734"/>
                    <a:gd name="connsiteX0" fmla="*/ 0 w 9164097"/>
                    <a:gd name="connsiteY0" fmla="*/ 3373734 h 3373734"/>
                    <a:gd name="connsiteX1" fmla="*/ 740228 w 9164097"/>
                    <a:gd name="connsiteY1" fmla="*/ 3362848 h 3373734"/>
                    <a:gd name="connsiteX2" fmla="*/ 2394857 w 9164097"/>
                    <a:gd name="connsiteY2" fmla="*/ 3319305 h 3373734"/>
                    <a:gd name="connsiteX3" fmla="*/ 3951514 w 9164097"/>
                    <a:gd name="connsiteY3" fmla="*/ 3232219 h 3373734"/>
                    <a:gd name="connsiteX4" fmla="*/ 5431971 w 9164097"/>
                    <a:gd name="connsiteY4" fmla="*/ 3101591 h 3373734"/>
                    <a:gd name="connsiteX5" fmla="*/ 6161314 w 9164097"/>
                    <a:gd name="connsiteY5" fmla="*/ 2970962 h 3373734"/>
                    <a:gd name="connsiteX6" fmla="*/ 6912428 w 9164097"/>
                    <a:gd name="connsiteY6" fmla="*/ 2818562 h 3373734"/>
                    <a:gd name="connsiteX7" fmla="*/ 7456714 w 9164097"/>
                    <a:gd name="connsiteY7" fmla="*/ 2579077 h 3373734"/>
                    <a:gd name="connsiteX8" fmla="*/ 7761514 w 9164097"/>
                    <a:gd name="connsiteY8" fmla="*/ 2317819 h 3373734"/>
                    <a:gd name="connsiteX9" fmla="*/ 7783285 w 9164097"/>
                    <a:gd name="connsiteY9" fmla="*/ 2089219 h 3373734"/>
                    <a:gd name="connsiteX10" fmla="*/ 7707085 w 9164097"/>
                    <a:gd name="connsiteY10" fmla="*/ 1936820 h 3373734"/>
                    <a:gd name="connsiteX11" fmla="*/ 7478485 w 9164097"/>
                    <a:gd name="connsiteY11" fmla="*/ 1806191 h 3373734"/>
                    <a:gd name="connsiteX12" fmla="*/ 7032171 w 9164097"/>
                    <a:gd name="connsiteY12" fmla="*/ 1686448 h 3373734"/>
                    <a:gd name="connsiteX13" fmla="*/ 6313714 w 9164097"/>
                    <a:gd name="connsiteY13" fmla="*/ 1544934 h 3373734"/>
                    <a:gd name="connsiteX14" fmla="*/ 5671457 w 9164097"/>
                    <a:gd name="connsiteY14" fmla="*/ 1425191 h 3373734"/>
                    <a:gd name="connsiteX15" fmla="*/ 5421085 w 9164097"/>
                    <a:gd name="connsiteY15" fmla="*/ 1370762 h 3373734"/>
                    <a:gd name="connsiteX16" fmla="*/ 5170714 w 9164097"/>
                    <a:gd name="connsiteY16" fmla="*/ 1305448 h 3373734"/>
                    <a:gd name="connsiteX17" fmla="*/ 5192485 w 9164097"/>
                    <a:gd name="connsiteY17" fmla="*/ 1272791 h 3373734"/>
                    <a:gd name="connsiteX18" fmla="*/ 5704114 w 9164097"/>
                    <a:gd name="connsiteY18" fmla="*/ 1207477 h 3373734"/>
                    <a:gd name="connsiteX19" fmla="*/ 6890657 w 9164097"/>
                    <a:gd name="connsiteY19" fmla="*/ 1109505 h 3373734"/>
                    <a:gd name="connsiteX20" fmla="*/ 8022770 w 9164097"/>
                    <a:gd name="connsiteY20" fmla="*/ 935334 h 3373734"/>
                    <a:gd name="connsiteX21" fmla="*/ 7761514 w 9164097"/>
                    <a:gd name="connsiteY21" fmla="*/ 652305 h 3373734"/>
                    <a:gd name="connsiteX22" fmla="*/ 6466114 w 9164097"/>
                    <a:gd name="connsiteY22" fmla="*/ 391048 h 3373734"/>
                    <a:gd name="connsiteX23" fmla="*/ 5987142 w 9164097"/>
                    <a:gd name="connsiteY23" fmla="*/ 293077 h 3373734"/>
                    <a:gd name="connsiteX24" fmla="*/ 5976257 w 9164097"/>
                    <a:gd name="connsiteY24" fmla="*/ 249534 h 3373734"/>
                    <a:gd name="connsiteX25" fmla="*/ 6607628 w 9164097"/>
                    <a:gd name="connsiteY25" fmla="*/ 260419 h 3373734"/>
                    <a:gd name="connsiteX26" fmla="*/ 9159909 w 9164097"/>
                    <a:gd name="connsiteY26" fmla="*/ 256232 h 3373734"/>
                    <a:gd name="connsiteX27" fmla="*/ 9164097 w 9164097"/>
                    <a:gd name="connsiteY27" fmla="*/ 0 h 3373734"/>
                    <a:gd name="connsiteX28" fmla="*/ 6814457 w 9164097"/>
                    <a:gd name="connsiteY28" fmla="*/ 10048 h 3373734"/>
                    <a:gd name="connsiteX29" fmla="*/ 5867400 w 9164097"/>
                    <a:gd name="connsiteY29" fmla="*/ 20934 h 3373734"/>
                    <a:gd name="connsiteX30" fmla="*/ 5072742 w 9164097"/>
                    <a:gd name="connsiteY30" fmla="*/ 53590 h 3373734"/>
                    <a:gd name="connsiteX31" fmla="*/ 5029200 w 9164097"/>
                    <a:gd name="connsiteY31" fmla="*/ 293077 h 3373734"/>
                    <a:gd name="connsiteX32" fmla="*/ 5932714 w 9164097"/>
                    <a:gd name="connsiteY32" fmla="*/ 521677 h 3373734"/>
                    <a:gd name="connsiteX33" fmla="*/ 6444342 w 9164097"/>
                    <a:gd name="connsiteY33" fmla="*/ 608762 h 3373734"/>
                    <a:gd name="connsiteX34" fmla="*/ 6683828 w 9164097"/>
                    <a:gd name="connsiteY34" fmla="*/ 674077 h 3373734"/>
                    <a:gd name="connsiteX35" fmla="*/ 6574971 w 9164097"/>
                    <a:gd name="connsiteY35" fmla="*/ 761162 h 3373734"/>
                    <a:gd name="connsiteX36" fmla="*/ 5845628 w 9164097"/>
                    <a:gd name="connsiteY36" fmla="*/ 837362 h 3373734"/>
                    <a:gd name="connsiteX37" fmla="*/ 4942114 w 9164097"/>
                    <a:gd name="connsiteY37" fmla="*/ 924448 h 3373734"/>
                    <a:gd name="connsiteX38" fmla="*/ 4245428 w 9164097"/>
                    <a:gd name="connsiteY38" fmla="*/ 946219 h 3373734"/>
                    <a:gd name="connsiteX39" fmla="*/ 3374571 w 9164097"/>
                    <a:gd name="connsiteY39" fmla="*/ 1055077 h 3373734"/>
                    <a:gd name="connsiteX40" fmla="*/ 3265714 w 9164097"/>
                    <a:gd name="connsiteY40" fmla="*/ 1120391 h 3373734"/>
                    <a:gd name="connsiteX41" fmla="*/ 3265714 w 9164097"/>
                    <a:gd name="connsiteY41" fmla="*/ 1261905 h 3373734"/>
                    <a:gd name="connsiteX42" fmla="*/ 3614057 w 9164097"/>
                    <a:gd name="connsiteY42" fmla="*/ 1370762 h 3373734"/>
                    <a:gd name="connsiteX43" fmla="*/ 4604657 w 9164097"/>
                    <a:gd name="connsiteY43" fmla="*/ 1588477 h 3373734"/>
                    <a:gd name="connsiteX44" fmla="*/ 5529942 w 9164097"/>
                    <a:gd name="connsiteY44" fmla="*/ 1817077 h 3373734"/>
                    <a:gd name="connsiteX45" fmla="*/ 5867400 w 9164097"/>
                    <a:gd name="connsiteY45" fmla="*/ 1947705 h 3373734"/>
                    <a:gd name="connsiteX46" fmla="*/ 5998028 w 9164097"/>
                    <a:gd name="connsiteY46" fmla="*/ 2067448 h 3373734"/>
                    <a:gd name="connsiteX47" fmla="*/ 5780314 w 9164097"/>
                    <a:gd name="connsiteY47" fmla="*/ 2154534 h 3373734"/>
                    <a:gd name="connsiteX48" fmla="*/ 5236028 w 9164097"/>
                    <a:gd name="connsiteY48" fmla="*/ 2263391 h 3373734"/>
                    <a:gd name="connsiteX49" fmla="*/ 4147457 w 9164097"/>
                    <a:gd name="connsiteY49" fmla="*/ 2361362 h 3373734"/>
                    <a:gd name="connsiteX50" fmla="*/ 3113314 w 9164097"/>
                    <a:gd name="connsiteY50" fmla="*/ 2394019 h 3373734"/>
                    <a:gd name="connsiteX51" fmla="*/ 1915885 w 9164097"/>
                    <a:gd name="connsiteY51" fmla="*/ 2426677 h 3373734"/>
                    <a:gd name="connsiteX52" fmla="*/ 631371 w 9164097"/>
                    <a:gd name="connsiteY52" fmla="*/ 2448448 h 3373734"/>
                    <a:gd name="connsiteX53" fmla="*/ 239485 w 9164097"/>
                    <a:gd name="connsiteY53" fmla="*/ 2470219 h 3373734"/>
                    <a:gd name="connsiteX54" fmla="*/ 32657 w 9164097"/>
                    <a:gd name="connsiteY54" fmla="*/ 2448448 h 3373734"/>
                    <a:gd name="connsiteX55" fmla="*/ 32657 w 9164097"/>
                    <a:gd name="connsiteY55" fmla="*/ 2698819 h 3373734"/>
                    <a:gd name="connsiteX56" fmla="*/ 21771 w 9164097"/>
                    <a:gd name="connsiteY56" fmla="*/ 3112477 h 3373734"/>
                    <a:gd name="connsiteX57" fmla="*/ 0 w 9164097"/>
                    <a:gd name="connsiteY57" fmla="*/ 3373734 h 3373734"/>
                    <a:gd name="connsiteX0" fmla="*/ 0 w 9164097"/>
                    <a:gd name="connsiteY0" fmla="*/ 3373734 h 3373734"/>
                    <a:gd name="connsiteX1" fmla="*/ 740228 w 9164097"/>
                    <a:gd name="connsiteY1" fmla="*/ 3362848 h 3373734"/>
                    <a:gd name="connsiteX2" fmla="*/ 2394857 w 9164097"/>
                    <a:gd name="connsiteY2" fmla="*/ 3319305 h 3373734"/>
                    <a:gd name="connsiteX3" fmla="*/ 3951514 w 9164097"/>
                    <a:gd name="connsiteY3" fmla="*/ 3232219 h 3373734"/>
                    <a:gd name="connsiteX4" fmla="*/ 5431971 w 9164097"/>
                    <a:gd name="connsiteY4" fmla="*/ 3101591 h 3373734"/>
                    <a:gd name="connsiteX5" fmla="*/ 6161314 w 9164097"/>
                    <a:gd name="connsiteY5" fmla="*/ 2970962 h 3373734"/>
                    <a:gd name="connsiteX6" fmla="*/ 6912428 w 9164097"/>
                    <a:gd name="connsiteY6" fmla="*/ 2818562 h 3373734"/>
                    <a:gd name="connsiteX7" fmla="*/ 7456714 w 9164097"/>
                    <a:gd name="connsiteY7" fmla="*/ 2579077 h 3373734"/>
                    <a:gd name="connsiteX8" fmla="*/ 7761514 w 9164097"/>
                    <a:gd name="connsiteY8" fmla="*/ 2317819 h 3373734"/>
                    <a:gd name="connsiteX9" fmla="*/ 7783285 w 9164097"/>
                    <a:gd name="connsiteY9" fmla="*/ 2089219 h 3373734"/>
                    <a:gd name="connsiteX10" fmla="*/ 7707085 w 9164097"/>
                    <a:gd name="connsiteY10" fmla="*/ 1936820 h 3373734"/>
                    <a:gd name="connsiteX11" fmla="*/ 7478485 w 9164097"/>
                    <a:gd name="connsiteY11" fmla="*/ 1806191 h 3373734"/>
                    <a:gd name="connsiteX12" fmla="*/ 7032171 w 9164097"/>
                    <a:gd name="connsiteY12" fmla="*/ 1686448 h 3373734"/>
                    <a:gd name="connsiteX13" fmla="*/ 6313714 w 9164097"/>
                    <a:gd name="connsiteY13" fmla="*/ 1544934 h 3373734"/>
                    <a:gd name="connsiteX14" fmla="*/ 5671457 w 9164097"/>
                    <a:gd name="connsiteY14" fmla="*/ 1425191 h 3373734"/>
                    <a:gd name="connsiteX15" fmla="*/ 5421085 w 9164097"/>
                    <a:gd name="connsiteY15" fmla="*/ 1370762 h 3373734"/>
                    <a:gd name="connsiteX16" fmla="*/ 5170714 w 9164097"/>
                    <a:gd name="connsiteY16" fmla="*/ 1305448 h 3373734"/>
                    <a:gd name="connsiteX17" fmla="*/ 5192485 w 9164097"/>
                    <a:gd name="connsiteY17" fmla="*/ 1272791 h 3373734"/>
                    <a:gd name="connsiteX18" fmla="*/ 5704114 w 9164097"/>
                    <a:gd name="connsiteY18" fmla="*/ 1207477 h 3373734"/>
                    <a:gd name="connsiteX19" fmla="*/ 6890657 w 9164097"/>
                    <a:gd name="connsiteY19" fmla="*/ 1109505 h 3373734"/>
                    <a:gd name="connsiteX20" fmla="*/ 8022770 w 9164097"/>
                    <a:gd name="connsiteY20" fmla="*/ 935334 h 3373734"/>
                    <a:gd name="connsiteX21" fmla="*/ 7761514 w 9164097"/>
                    <a:gd name="connsiteY21" fmla="*/ 652305 h 3373734"/>
                    <a:gd name="connsiteX22" fmla="*/ 6466114 w 9164097"/>
                    <a:gd name="connsiteY22" fmla="*/ 391048 h 3373734"/>
                    <a:gd name="connsiteX23" fmla="*/ 5987142 w 9164097"/>
                    <a:gd name="connsiteY23" fmla="*/ 293077 h 3373734"/>
                    <a:gd name="connsiteX24" fmla="*/ 5976257 w 9164097"/>
                    <a:gd name="connsiteY24" fmla="*/ 249534 h 3373734"/>
                    <a:gd name="connsiteX25" fmla="*/ 6607628 w 9164097"/>
                    <a:gd name="connsiteY25" fmla="*/ 260419 h 3373734"/>
                    <a:gd name="connsiteX26" fmla="*/ 9159909 w 9164097"/>
                    <a:gd name="connsiteY26" fmla="*/ 256232 h 3373734"/>
                    <a:gd name="connsiteX27" fmla="*/ 9164097 w 9164097"/>
                    <a:gd name="connsiteY27" fmla="*/ 0 h 3373734"/>
                    <a:gd name="connsiteX28" fmla="*/ 6814457 w 9164097"/>
                    <a:gd name="connsiteY28" fmla="*/ 10048 h 3373734"/>
                    <a:gd name="connsiteX29" fmla="*/ 5867400 w 9164097"/>
                    <a:gd name="connsiteY29" fmla="*/ 20934 h 3373734"/>
                    <a:gd name="connsiteX30" fmla="*/ 5072742 w 9164097"/>
                    <a:gd name="connsiteY30" fmla="*/ 53590 h 3373734"/>
                    <a:gd name="connsiteX31" fmla="*/ 5029200 w 9164097"/>
                    <a:gd name="connsiteY31" fmla="*/ 293077 h 3373734"/>
                    <a:gd name="connsiteX32" fmla="*/ 5932714 w 9164097"/>
                    <a:gd name="connsiteY32" fmla="*/ 521677 h 3373734"/>
                    <a:gd name="connsiteX33" fmla="*/ 6444342 w 9164097"/>
                    <a:gd name="connsiteY33" fmla="*/ 608762 h 3373734"/>
                    <a:gd name="connsiteX34" fmla="*/ 6683828 w 9164097"/>
                    <a:gd name="connsiteY34" fmla="*/ 674077 h 3373734"/>
                    <a:gd name="connsiteX35" fmla="*/ 6574971 w 9164097"/>
                    <a:gd name="connsiteY35" fmla="*/ 761162 h 3373734"/>
                    <a:gd name="connsiteX36" fmla="*/ 5845628 w 9164097"/>
                    <a:gd name="connsiteY36" fmla="*/ 837362 h 3373734"/>
                    <a:gd name="connsiteX37" fmla="*/ 4942114 w 9164097"/>
                    <a:gd name="connsiteY37" fmla="*/ 924448 h 3373734"/>
                    <a:gd name="connsiteX38" fmla="*/ 4245428 w 9164097"/>
                    <a:gd name="connsiteY38" fmla="*/ 946219 h 3373734"/>
                    <a:gd name="connsiteX39" fmla="*/ 3374571 w 9164097"/>
                    <a:gd name="connsiteY39" fmla="*/ 1055077 h 3373734"/>
                    <a:gd name="connsiteX40" fmla="*/ 3265714 w 9164097"/>
                    <a:gd name="connsiteY40" fmla="*/ 1120391 h 3373734"/>
                    <a:gd name="connsiteX41" fmla="*/ 3265714 w 9164097"/>
                    <a:gd name="connsiteY41" fmla="*/ 1261905 h 3373734"/>
                    <a:gd name="connsiteX42" fmla="*/ 3614057 w 9164097"/>
                    <a:gd name="connsiteY42" fmla="*/ 1370762 h 3373734"/>
                    <a:gd name="connsiteX43" fmla="*/ 4604657 w 9164097"/>
                    <a:gd name="connsiteY43" fmla="*/ 1588477 h 3373734"/>
                    <a:gd name="connsiteX44" fmla="*/ 5529942 w 9164097"/>
                    <a:gd name="connsiteY44" fmla="*/ 1817077 h 3373734"/>
                    <a:gd name="connsiteX45" fmla="*/ 5867400 w 9164097"/>
                    <a:gd name="connsiteY45" fmla="*/ 1947705 h 3373734"/>
                    <a:gd name="connsiteX46" fmla="*/ 5998028 w 9164097"/>
                    <a:gd name="connsiteY46" fmla="*/ 2067448 h 3373734"/>
                    <a:gd name="connsiteX47" fmla="*/ 5780314 w 9164097"/>
                    <a:gd name="connsiteY47" fmla="*/ 2154534 h 3373734"/>
                    <a:gd name="connsiteX48" fmla="*/ 5236028 w 9164097"/>
                    <a:gd name="connsiteY48" fmla="*/ 2263391 h 3373734"/>
                    <a:gd name="connsiteX49" fmla="*/ 4147457 w 9164097"/>
                    <a:gd name="connsiteY49" fmla="*/ 2361362 h 3373734"/>
                    <a:gd name="connsiteX50" fmla="*/ 3113314 w 9164097"/>
                    <a:gd name="connsiteY50" fmla="*/ 2394019 h 3373734"/>
                    <a:gd name="connsiteX51" fmla="*/ 1915885 w 9164097"/>
                    <a:gd name="connsiteY51" fmla="*/ 2426677 h 3373734"/>
                    <a:gd name="connsiteX52" fmla="*/ 631371 w 9164097"/>
                    <a:gd name="connsiteY52" fmla="*/ 2448448 h 3373734"/>
                    <a:gd name="connsiteX53" fmla="*/ 239485 w 9164097"/>
                    <a:gd name="connsiteY53" fmla="*/ 2470219 h 3373734"/>
                    <a:gd name="connsiteX54" fmla="*/ 32657 w 9164097"/>
                    <a:gd name="connsiteY54" fmla="*/ 2448448 h 3373734"/>
                    <a:gd name="connsiteX55" fmla="*/ 32657 w 9164097"/>
                    <a:gd name="connsiteY55" fmla="*/ 2698819 h 3373734"/>
                    <a:gd name="connsiteX56" fmla="*/ 21771 w 9164097"/>
                    <a:gd name="connsiteY56" fmla="*/ 3112477 h 3373734"/>
                    <a:gd name="connsiteX57" fmla="*/ 0 w 9164097"/>
                    <a:gd name="connsiteY57"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6232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444342 w 9164933"/>
                    <a:gd name="connsiteY33" fmla="*/ 608762 h 3373734"/>
                    <a:gd name="connsiteX34" fmla="*/ 6683828 w 9164933"/>
                    <a:gd name="connsiteY34" fmla="*/ 674077 h 3373734"/>
                    <a:gd name="connsiteX35" fmla="*/ 6574971 w 9164933"/>
                    <a:gd name="connsiteY35" fmla="*/ 761162 h 3373734"/>
                    <a:gd name="connsiteX36" fmla="*/ 5845628 w 9164933"/>
                    <a:gd name="connsiteY36" fmla="*/ 837362 h 3373734"/>
                    <a:gd name="connsiteX37" fmla="*/ 4942114 w 9164933"/>
                    <a:gd name="connsiteY37" fmla="*/ 924448 h 3373734"/>
                    <a:gd name="connsiteX38" fmla="*/ 4245428 w 9164933"/>
                    <a:gd name="connsiteY38" fmla="*/ 946219 h 3373734"/>
                    <a:gd name="connsiteX39" fmla="*/ 3374571 w 9164933"/>
                    <a:gd name="connsiteY39" fmla="*/ 1055077 h 3373734"/>
                    <a:gd name="connsiteX40" fmla="*/ 3265714 w 9164933"/>
                    <a:gd name="connsiteY40" fmla="*/ 1120391 h 3373734"/>
                    <a:gd name="connsiteX41" fmla="*/ 3265714 w 9164933"/>
                    <a:gd name="connsiteY41" fmla="*/ 1261905 h 3373734"/>
                    <a:gd name="connsiteX42" fmla="*/ 3614057 w 9164933"/>
                    <a:gd name="connsiteY42" fmla="*/ 1370762 h 3373734"/>
                    <a:gd name="connsiteX43" fmla="*/ 4604657 w 9164933"/>
                    <a:gd name="connsiteY43" fmla="*/ 1588477 h 3373734"/>
                    <a:gd name="connsiteX44" fmla="*/ 5529942 w 9164933"/>
                    <a:gd name="connsiteY44" fmla="*/ 1817077 h 3373734"/>
                    <a:gd name="connsiteX45" fmla="*/ 5867400 w 9164933"/>
                    <a:gd name="connsiteY45" fmla="*/ 1947705 h 3373734"/>
                    <a:gd name="connsiteX46" fmla="*/ 5998028 w 9164933"/>
                    <a:gd name="connsiteY46" fmla="*/ 2067448 h 3373734"/>
                    <a:gd name="connsiteX47" fmla="*/ 5780314 w 9164933"/>
                    <a:gd name="connsiteY47" fmla="*/ 2154534 h 3373734"/>
                    <a:gd name="connsiteX48" fmla="*/ 5236028 w 9164933"/>
                    <a:gd name="connsiteY48" fmla="*/ 2263391 h 3373734"/>
                    <a:gd name="connsiteX49" fmla="*/ 4147457 w 9164933"/>
                    <a:gd name="connsiteY49" fmla="*/ 2361362 h 3373734"/>
                    <a:gd name="connsiteX50" fmla="*/ 3113314 w 9164933"/>
                    <a:gd name="connsiteY50" fmla="*/ 2394019 h 3373734"/>
                    <a:gd name="connsiteX51" fmla="*/ 1915885 w 9164933"/>
                    <a:gd name="connsiteY51" fmla="*/ 2426677 h 3373734"/>
                    <a:gd name="connsiteX52" fmla="*/ 631371 w 9164933"/>
                    <a:gd name="connsiteY52" fmla="*/ 2448448 h 3373734"/>
                    <a:gd name="connsiteX53" fmla="*/ 239485 w 9164933"/>
                    <a:gd name="connsiteY53" fmla="*/ 2470219 h 3373734"/>
                    <a:gd name="connsiteX54" fmla="*/ 32657 w 9164933"/>
                    <a:gd name="connsiteY54" fmla="*/ 2448448 h 3373734"/>
                    <a:gd name="connsiteX55" fmla="*/ 32657 w 9164933"/>
                    <a:gd name="connsiteY55" fmla="*/ 2698819 h 3373734"/>
                    <a:gd name="connsiteX56" fmla="*/ 21771 w 9164933"/>
                    <a:gd name="connsiteY56" fmla="*/ 3112477 h 3373734"/>
                    <a:gd name="connsiteX57" fmla="*/ 0 w 9164933"/>
                    <a:gd name="connsiteY57"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6232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444342 w 9164933"/>
                    <a:gd name="connsiteY33" fmla="*/ 608762 h 3373734"/>
                    <a:gd name="connsiteX34" fmla="*/ 6608465 w 9164933"/>
                    <a:gd name="connsiteY34" fmla="*/ 679101 h 3373734"/>
                    <a:gd name="connsiteX35" fmla="*/ 6574971 w 9164933"/>
                    <a:gd name="connsiteY35" fmla="*/ 761162 h 3373734"/>
                    <a:gd name="connsiteX36" fmla="*/ 5845628 w 9164933"/>
                    <a:gd name="connsiteY36" fmla="*/ 837362 h 3373734"/>
                    <a:gd name="connsiteX37" fmla="*/ 4942114 w 9164933"/>
                    <a:gd name="connsiteY37" fmla="*/ 924448 h 3373734"/>
                    <a:gd name="connsiteX38" fmla="*/ 4245428 w 9164933"/>
                    <a:gd name="connsiteY38" fmla="*/ 946219 h 3373734"/>
                    <a:gd name="connsiteX39" fmla="*/ 3374571 w 9164933"/>
                    <a:gd name="connsiteY39" fmla="*/ 1055077 h 3373734"/>
                    <a:gd name="connsiteX40" fmla="*/ 3265714 w 9164933"/>
                    <a:gd name="connsiteY40" fmla="*/ 1120391 h 3373734"/>
                    <a:gd name="connsiteX41" fmla="*/ 3265714 w 9164933"/>
                    <a:gd name="connsiteY41" fmla="*/ 1261905 h 3373734"/>
                    <a:gd name="connsiteX42" fmla="*/ 3614057 w 9164933"/>
                    <a:gd name="connsiteY42" fmla="*/ 1370762 h 3373734"/>
                    <a:gd name="connsiteX43" fmla="*/ 4604657 w 9164933"/>
                    <a:gd name="connsiteY43" fmla="*/ 1588477 h 3373734"/>
                    <a:gd name="connsiteX44" fmla="*/ 5529942 w 9164933"/>
                    <a:gd name="connsiteY44" fmla="*/ 1817077 h 3373734"/>
                    <a:gd name="connsiteX45" fmla="*/ 5867400 w 9164933"/>
                    <a:gd name="connsiteY45" fmla="*/ 1947705 h 3373734"/>
                    <a:gd name="connsiteX46" fmla="*/ 5998028 w 9164933"/>
                    <a:gd name="connsiteY46" fmla="*/ 2067448 h 3373734"/>
                    <a:gd name="connsiteX47" fmla="*/ 5780314 w 9164933"/>
                    <a:gd name="connsiteY47" fmla="*/ 2154534 h 3373734"/>
                    <a:gd name="connsiteX48" fmla="*/ 5236028 w 9164933"/>
                    <a:gd name="connsiteY48" fmla="*/ 2263391 h 3373734"/>
                    <a:gd name="connsiteX49" fmla="*/ 4147457 w 9164933"/>
                    <a:gd name="connsiteY49" fmla="*/ 2361362 h 3373734"/>
                    <a:gd name="connsiteX50" fmla="*/ 3113314 w 9164933"/>
                    <a:gd name="connsiteY50" fmla="*/ 2394019 h 3373734"/>
                    <a:gd name="connsiteX51" fmla="*/ 1915885 w 9164933"/>
                    <a:gd name="connsiteY51" fmla="*/ 2426677 h 3373734"/>
                    <a:gd name="connsiteX52" fmla="*/ 631371 w 9164933"/>
                    <a:gd name="connsiteY52" fmla="*/ 2448448 h 3373734"/>
                    <a:gd name="connsiteX53" fmla="*/ 239485 w 9164933"/>
                    <a:gd name="connsiteY53" fmla="*/ 2470219 h 3373734"/>
                    <a:gd name="connsiteX54" fmla="*/ 32657 w 9164933"/>
                    <a:gd name="connsiteY54" fmla="*/ 2448448 h 3373734"/>
                    <a:gd name="connsiteX55" fmla="*/ 32657 w 9164933"/>
                    <a:gd name="connsiteY55" fmla="*/ 2698819 h 3373734"/>
                    <a:gd name="connsiteX56" fmla="*/ 21771 w 9164933"/>
                    <a:gd name="connsiteY56" fmla="*/ 3112477 h 3373734"/>
                    <a:gd name="connsiteX57" fmla="*/ 0 w 9164933"/>
                    <a:gd name="connsiteY57"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6232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444342 w 9164933"/>
                    <a:gd name="connsiteY33" fmla="*/ 608762 h 3373734"/>
                    <a:gd name="connsiteX34" fmla="*/ 6608465 w 9164933"/>
                    <a:gd name="connsiteY34" fmla="*/ 679101 h 3373734"/>
                    <a:gd name="connsiteX35" fmla="*/ 6574971 w 9164933"/>
                    <a:gd name="connsiteY35" fmla="*/ 761162 h 3373734"/>
                    <a:gd name="connsiteX36" fmla="*/ 5845628 w 9164933"/>
                    <a:gd name="connsiteY36" fmla="*/ 837362 h 3373734"/>
                    <a:gd name="connsiteX37" fmla="*/ 4942114 w 9164933"/>
                    <a:gd name="connsiteY37" fmla="*/ 924448 h 3373734"/>
                    <a:gd name="connsiteX38" fmla="*/ 4245428 w 9164933"/>
                    <a:gd name="connsiteY38" fmla="*/ 946219 h 3373734"/>
                    <a:gd name="connsiteX39" fmla="*/ 3374571 w 9164933"/>
                    <a:gd name="connsiteY39" fmla="*/ 1055077 h 3373734"/>
                    <a:gd name="connsiteX40" fmla="*/ 3265714 w 9164933"/>
                    <a:gd name="connsiteY40" fmla="*/ 1120391 h 3373734"/>
                    <a:gd name="connsiteX41" fmla="*/ 3265714 w 9164933"/>
                    <a:gd name="connsiteY41" fmla="*/ 1261905 h 3373734"/>
                    <a:gd name="connsiteX42" fmla="*/ 3614057 w 9164933"/>
                    <a:gd name="connsiteY42" fmla="*/ 1370762 h 3373734"/>
                    <a:gd name="connsiteX43" fmla="*/ 4604657 w 9164933"/>
                    <a:gd name="connsiteY43" fmla="*/ 1588477 h 3373734"/>
                    <a:gd name="connsiteX44" fmla="*/ 5529942 w 9164933"/>
                    <a:gd name="connsiteY44" fmla="*/ 1817077 h 3373734"/>
                    <a:gd name="connsiteX45" fmla="*/ 5867400 w 9164933"/>
                    <a:gd name="connsiteY45" fmla="*/ 1947705 h 3373734"/>
                    <a:gd name="connsiteX46" fmla="*/ 5998028 w 9164933"/>
                    <a:gd name="connsiteY46" fmla="*/ 2067448 h 3373734"/>
                    <a:gd name="connsiteX47" fmla="*/ 5780314 w 9164933"/>
                    <a:gd name="connsiteY47" fmla="*/ 2154534 h 3373734"/>
                    <a:gd name="connsiteX48" fmla="*/ 5236028 w 9164933"/>
                    <a:gd name="connsiteY48" fmla="*/ 2263391 h 3373734"/>
                    <a:gd name="connsiteX49" fmla="*/ 4147457 w 9164933"/>
                    <a:gd name="connsiteY49" fmla="*/ 2361362 h 3373734"/>
                    <a:gd name="connsiteX50" fmla="*/ 3113314 w 9164933"/>
                    <a:gd name="connsiteY50" fmla="*/ 2394019 h 3373734"/>
                    <a:gd name="connsiteX51" fmla="*/ 1915885 w 9164933"/>
                    <a:gd name="connsiteY51" fmla="*/ 2426677 h 3373734"/>
                    <a:gd name="connsiteX52" fmla="*/ 631371 w 9164933"/>
                    <a:gd name="connsiteY52" fmla="*/ 2448448 h 3373734"/>
                    <a:gd name="connsiteX53" fmla="*/ 239485 w 9164933"/>
                    <a:gd name="connsiteY53" fmla="*/ 2470219 h 3373734"/>
                    <a:gd name="connsiteX54" fmla="*/ 32657 w 9164933"/>
                    <a:gd name="connsiteY54" fmla="*/ 2448448 h 3373734"/>
                    <a:gd name="connsiteX55" fmla="*/ 32657 w 9164933"/>
                    <a:gd name="connsiteY55" fmla="*/ 2698819 h 3373734"/>
                    <a:gd name="connsiteX56" fmla="*/ 21771 w 9164933"/>
                    <a:gd name="connsiteY56" fmla="*/ 3112477 h 3373734"/>
                    <a:gd name="connsiteX57" fmla="*/ 0 w 9164933"/>
                    <a:gd name="connsiteY57"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6232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444342 w 9164933"/>
                    <a:gd name="connsiteY33" fmla="*/ 608762 h 3373734"/>
                    <a:gd name="connsiteX34" fmla="*/ 6608465 w 9164933"/>
                    <a:gd name="connsiteY34" fmla="*/ 679101 h 3373734"/>
                    <a:gd name="connsiteX35" fmla="*/ 6574971 w 9164933"/>
                    <a:gd name="connsiteY35" fmla="*/ 761162 h 3373734"/>
                    <a:gd name="connsiteX36" fmla="*/ 5845628 w 9164933"/>
                    <a:gd name="connsiteY36" fmla="*/ 837362 h 3373734"/>
                    <a:gd name="connsiteX37" fmla="*/ 4942114 w 9164933"/>
                    <a:gd name="connsiteY37" fmla="*/ 924448 h 3373734"/>
                    <a:gd name="connsiteX38" fmla="*/ 4245428 w 9164933"/>
                    <a:gd name="connsiteY38" fmla="*/ 946219 h 3373734"/>
                    <a:gd name="connsiteX39" fmla="*/ 3374571 w 9164933"/>
                    <a:gd name="connsiteY39" fmla="*/ 1055077 h 3373734"/>
                    <a:gd name="connsiteX40" fmla="*/ 3265714 w 9164933"/>
                    <a:gd name="connsiteY40" fmla="*/ 1120391 h 3373734"/>
                    <a:gd name="connsiteX41" fmla="*/ 3265714 w 9164933"/>
                    <a:gd name="connsiteY41" fmla="*/ 1261905 h 3373734"/>
                    <a:gd name="connsiteX42" fmla="*/ 3614057 w 9164933"/>
                    <a:gd name="connsiteY42" fmla="*/ 1370762 h 3373734"/>
                    <a:gd name="connsiteX43" fmla="*/ 4604657 w 9164933"/>
                    <a:gd name="connsiteY43" fmla="*/ 1588477 h 3373734"/>
                    <a:gd name="connsiteX44" fmla="*/ 5529942 w 9164933"/>
                    <a:gd name="connsiteY44" fmla="*/ 1817077 h 3373734"/>
                    <a:gd name="connsiteX45" fmla="*/ 5867400 w 9164933"/>
                    <a:gd name="connsiteY45" fmla="*/ 1947705 h 3373734"/>
                    <a:gd name="connsiteX46" fmla="*/ 5998028 w 9164933"/>
                    <a:gd name="connsiteY46" fmla="*/ 2067448 h 3373734"/>
                    <a:gd name="connsiteX47" fmla="*/ 5780314 w 9164933"/>
                    <a:gd name="connsiteY47" fmla="*/ 2154534 h 3373734"/>
                    <a:gd name="connsiteX48" fmla="*/ 5236028 w 9164933"/>
                    <a:gd name="connsiteY48" fmla="*/ 2263391 h 3373734"/>
                    <a:gd name="connsiteX49" fmla="*/ 4147457 w 9164933"/>
                    <a:gd name="connsiteY49" fmla="*/ 2361362 h 3373734"/>
                    <a:gd name="connsiteX50" fmla="*/ 3113314 w 9164933"/>
                    <a:gd name="connsiteY50" fmla="*/ 2394019 h 3373734"/>
                    <a:gd name="connsiteX51" fmla="*/ 1915885 w 9164933"/>
                    <a:gd name="connsiteY51" fmla="*/ 2426677 h 3373734"/>
                    <a:gd name="connsiteX52" fmla="*/ 631371 w 9164933"/>
                    <a:gd name="connsiteY52" fmla="*/ 2448448 h 3373734"/>
                    <a:gd name="connsiteX53" fmla="*/ 239485 w 9164933"/>
                    <a:gd name="connsiteY53" fmla="*/ 2470219 h 3373734"/>
                    <a:gd name="connsiteX54" fmla="*/ 32657 w 9164933"/>
                    <a:gd name="connsiteY54" fmla="*/ 2448448 h 3373734"/>
                    <a:gd name="connsiteX55" fmla="*/ 32657 w 9164933"/>
                    <a:gd name="connsiteY55" fmla="*/ 2698819 h 3373734"/>
                    <a:gd name="connsiteX56" fmla="*/ 21771 w 9164933"/>
                    <a:gd name="connsiteY56" fmla="*/ 3112477 h 3373734"/>
                    <a:gd name="connsiteX57" fmla="*/ 0 w 9164933"/>
                    <a:gd name="connsiteY57"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6232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608465 w 9164933"/>
                    <a:gd name="connsiteY33" fmla="*/ 679101 h 3373734"/>
                    <a:gd name="connsiteX34" fmla="*/ 6574971 w 9164933"/>
                    <a:gd name="connsiteY34" fmla="*/ 761162 h 3373734"/>
                    <a:gd name="connsiteX35" fmla="*/ 5845628 w 9164933"/>
                    <a:gd name="connsiteY35" fmla="*/ 837362 h 3373734"/>
                    <a:gd name="connsiteX36" fmla="*/ 4942114 w 9164933"/>
                    <a:gd name="connsiteY36" fmla="*/ 924448 h 3373734"/>
                    <a:gd name="connsiteX37" fmla="*/ 4245428 w 9164933"/>
                    <a:gd name="connsiteY37" fmla="*/ 946219 h 3373734"/>
                    <a:gd name="connsiteX38" fmla="*/ 3374571 w 9164933"/>
                    <a:gd name="connsiteY38" fmla="*/ 1055077 h 3373734"/>
                    <a:gd name="connsiteX39" fmla="*/ 3265714 w 9164933"/>
                    <a:gd name="connsiteY39" fmla="*/ 1120391 h 3373734"/>
                    <a:gd name="connsiteX40" fmla="*/ 3265714 w 9164933"/>
                    <a:gd name="connsiteY40" fmla="*/ 1261905 h 3373734"/>
                    <a:gd name="connsiteX41" fmla="*/ 3614057 w 9164933"/>
                    <a:gd name="connsiteY41" fmla="*/ 1370762 h 3373734"/>
                    <a:gd name="connsiteX42" fmla="*/ 4604657 w 9164933"/>
                    <a:gd name="connsiteY42" fmla="*/ 1588477 h 3373734"/>
                    <a:gd name="connsiteX43" fmla="*/ 5529942 w 9164933"/>
                    <a:gd name="connsiteY43" fmla="*/ 1817077 h 3373734"/>
                    <a:gd name="connsiteX44" fmla="*/ 5867400 w 9164933"/>
                    <a:gd name="connsiteY44" fmla="*/ 1947705 h 3373734"/>
                    <a:gd name="connsiteX45" fmla="*/ 5998028 w 9164933"/>
                    <a:gd name="connsiteY45" fmla="*/ 2067448 h 3373734"/>
                    <a:gd name="connsiteX46" fmla="*/ 5780314 w 9164933"/>
                    <a:gd name="connsiteY46" fmla="*/ 2154534 h 3373734"/>
                    <a:gd name="connsiteX47" fmla="*/ 5236028 w 9164933"/>
                    <a:gd name="connsiteY47" fmla="*/ 2263391 h 3373734"/>
                    <a:gd name="connsiteX48" fmla="*/ 4147457 w 9164933"/>
                    <a:gd name="connsiteY48" fmla="*/ 2361362 h 3373734"/>
                    <a:gd name="connsiteX49" fmla="*/ 3113314 w 9164933"/>
                    <a:gd name="connsiteY49" fmla="*/ 2394019 h 3373734"/>
                    <a:gd name="connsiteX50" fmla="*/ 1915885 w 9164933"/>
                    <a:gd name="connsiteY50" fmla="*/ 2426677 h 3373734"/>
                    <a:gd name="connsiteX51" fmla="*/ 631371 w 9164933"/>
                    <a:gd name="connsiteY51" fmla="*/ 2448448 h 3373734"/>
                    <a:gd name="connsiteX52" fmla="*/ 239485 w 9164933"/>
                    <a:gd name="connsiteY52" fmla="*/ 2470219 h 3373734"/>
                    <a:gd name="connsiteX53" fmla="*/ 32657 w 9164933"/>
                    <a:gd name="connsiteY53" fmla="*/ 2448448 h 3373734"/>
                    <a:gd name="connsiteX54" fmla="*/ 32657 w 9164933"/>
                    <a:gd name="connsiteY54" fmla="*/ 2698819 h 3373734"/>
                    <a:gd name="connsiteX55" fmla="*/ 21771 w 9164933"/>
                    <a:gd name="connsiteY55" fmla="*/ 3112477 h 3373734"/>
                    <a:gd name="connsiteX56" fmla="*/ 0 w 9164933"/>
                    <a:gd name="connsiteY56"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6890657 w 9164933"/>
                    <a:gd name="connsiteY19" fmla="*/ 1109505 h 3373734"/>
                    <a:gd name="connsiteX20" fmla="*/ 8022770 w 9164933"/>
                    <a:gd name="connsiteY20" fmla="*/ 935334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6232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608465 w 9164933"/>
                    <a:gd name="connsiteY33" fmla="*/ 679101 h 3373734"/>
                    <a:gd name="connsiteX34" fmla="*/ 6574971 w 9164933"/>
                    <a:gd name="connsiteY34" fmla="*/ 761162 h 3373734"/>
                    <a:gd name="connsiteX35" fmla="*/ 5845628 w 9164933"/>
                    <a:gd name="connsiteY35" fmla="*/ 837362 h 3373734"/>
                    <a:gd name="connsiteX36" fmla="*/ 4942114 w 9164933"/>
                    <a:gd name="connsiteY36" fmla="*/ 924448 h 3373734"/>
                    <a:gd name="connsiteX37" fmla="*/ 3374571 w 9164933"/>
                    <a:gd name="connsiteY37" fmla="*/ 1055077 h 3373734"/>
                    <a:gd name="connsiteX38" fmla="*/ 3265714 w 9164933"/>
                    <a:gd name="connsiteY38" fmla="*/ 1120391 h 3373734"/>
                    <a:gd name="connsiteX39" fmla="*/ 3265714 w 9164933"/>
                    <a:gd name="connsiteY39" fmla="*/ 1261905 h 3373734"/>
                    <a:gd name="connsiteX40" fmla="*/ 3614057 w 9164933"/>
                    <a:gd name="connsiteY40" fmla="*/ 1370762 h 3373734"/>
                    <a:gd name="connsiteX41" fmla="*/ 4604657 w 9164933"/>
                    <a:gd name="connsiteY41" fmla="*/ 1588477 h 3373734"/>
                    <a:gd name="connsiteX42" fmla="*/ 5529942 w 9164933"/>
                    <a:gd name="connsiteY42" fmla="*/ 1817077 h 3373734"/>
                    <a:gd name="connsiteX43" fmla="*/ 5867400 w 9164933"/>
                    <a:gd name="connsiteY43" fmla="*/ 1947705 h 3373734"/>
                    <a:gd name="connsiteX44" fmla="*/ 5998028 w 9164933"/>
                    <a:gd name="connsiteY44" fmla="*/ 2067448 h 3373734"/>
                    <a:gd name="connsiteX45" fmla="*/ 5780314 w 9164933"/>
                    <a:gd name="connsiteY45" fmla="*/ 2154534 h 3373734"/>
                    <a:gd name="connsiteX46" fmla="*/ 5236028 w 9164933"/>
                    <a:gd name="connsiteY46" fmla="*/ 2263391 h 3373734"/>
                    <a:gd name="connsiteX47" fmla="*/ 4147457 w 9164933"/>
                    <a:gd name="connsiteY47" fmla="*/ 2361362 h 3373734"/>
                    <a:gd name="connsiteX48" fmla="*/ 3113314 w 9164933"/>
                    <a:gd name="connsiteY48" fmla="*/ 2394019 h 3373734"/>
                    <a:gd name="connsiteX49" fmla="*/ 1915885 w 9164933"/>
                    <a:gd name="connsiteY49" fmla="*/ 2426677 h 3373734"/>
                    <a:gd name="connsiteX50" fmla="*/ 631371 w 9164933"/>
                    <a:gd name="connsiteY50" fmla="*/ 2448448 h 3373734"/>
                    <a:gd name="connsiteX51" fmla="*/ 239485 w 9164933"/>
                    <a:gd name="connsiteY51" fmla="*/ 2470219 h 3373734"/>
                    <a:gd name="connsiteX52" fmla="*/ 32657 w 9164933"/>
                    <a:gd name="connsiteY52" fmla="*/ 2448448 h 3373734"/>
                    <a:gd name="connsiteX53" fmla="*/ 32657 w 9164933"/>
                    <a:gd name="connsiteY53" fmla="*/ 2698819 h 3373734"/>
                    <a:gd name="connsiteX54" fmla="*/ 21771 w 9164933"/>
                    <a:gd name="connsiteY54" fmla="*/ 3112477 h 3373734"/>
                    <a:gd name="connsiteX55" fmla="*/ 0 w 9164933"/>
                    <a:gd name="connsiteY55"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61514 w 9164933"/>
                    <a:gd name="connsiteY20" fmla="*/ 652305 h 3373734"/>
                    <a:gd name="connsiteX21" fmla="*/ 6466114 w 9164933"/>
                    <a:gd name="connsiteY21" fmla="*/ 391048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608465 w 9164933"/>
                    <a:gd name="connsiteY32" fmla="*/ 679101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8140839 w 9164933"/>
                    <a:gd name="connsiteY20" fmla="*/ 752789 h 3373734"/>
                    <a:gd name="connsiteX21" fmla="*/ 7761514 w 9164933"/>
                    <a:gd name="connsiteY21" fmla="*/ 652305 h 3373734"/>
                    <a:gd name="connsiteX22" fmla="*/ 6466114 w 9164933"/>
                    <a:gd name="connsiteY22" fmla="*/ 391048 h 3373734"/>
                    <a:gd name="connsiteX23" fmla="*/ 5987142 w 9164933"/>
                    <a:gd name="connsiteY23" fmla="*/ 293077 h 3373734"/>
                    <a:gd name="connsiteX24" fmla="*/ 5976257 w 9164933"/>
                    <a:gd name="connsiteY24" fmla="*/ 249534 h 3373734"/>
                    <a:gd name="connsiteX25" fmla="*/ 6607628 w 9164933"/>
                    <a:gd name="connsiteY25" fmla="*/ 260419 h 3373734"/>
                    <a:gd name="connsiteX26" fmla="*/ 9164933 w 9164933"/>
                    <a:gd name="connsiteY26" fmla="*/ 256232 h 3373734"/>
                    <a:gd name="connsiteX27" fmla="*/ 9164097 w 9164933"/>
                    <a:gd name="connsiteY27" fmla="*/ 0 h 3373734"/>
                    <a:gd name="connsiteX28" fmla="*/ 6814457 w 9164933"/>
                    <a:gd name="connsiteY28" fmla="*/ 10048 h 3373734"/>
                    <a:gd name="connsiteX29" fmla="*/ 5867400 w 9164933"/>
                    <a:gd name="connsiteY29" fmla="*/ 20934 h 3373734"/>
                    <a:gd name="connsiteX30" fmla="*/ 5072742 w 9164933"/>
                    <a:gd name="connsiteY30" fmla="*/ 53590 h 3373734"/>
                    <a:gd name="connsiteX31" fmla="*/ 5029200 w 9164933"/>
                    <a:gd name="connsiteY31" fmla="*/ 293077 h 3373734"/>
                    <a:gd name="connsiteX32" fmla="*/ 5932714 w 9164933"/>
                    <a:gd name="connsiteY32" fmla="*/ 521677 h 3373734"/>
                    <a:gd name="connsiteX33" fmla="*/ 6608465 w 9164933"/>
                    <a:gd name="connsiteY33" fmla="*/ 679101 h 3373734"/>
                    <a:gd name="connsiteX34" fmla="*/ 6574971 w 9164933"/>
                    <a:gd name="connsiteY34" fmla="*/ 761162 h 3373734"/>
                    <a:gd name="connsiteX35" fmla="*/ 5845628 w 9164933"/>
                    <a:gd name="connsiteY35" fmla="*/ 837362 h 3373734"/>
                    <a:gd name="connsiteX36" fmla="*/ 4942114 w 9164933"/>
                    <a:gd name="connsiteY36" fmla="*/ 924448 h 3373734"/>
                    <a:gd name="connsiteX37" fmla="*/ 3374571 w 9164933"/>
                    <a:gd name="connsiteY37" fmla="*/ 1055077 h 3373734"/>
                    <a:gd name="connsiteX38" fmla="*/ 3265714 w 9164933"/>
                    <a:gd name="connsiteY38" fmla="*/ 1120391 h 3373734"/>
                    <a:gd name="connsiteX39" fmla="*/ 3265714 w 9164933"/>
                    <a:gd name="connsiteY39" fmla="*/ 1261905 h 3373734"/>
                    <a:gd name="connsiteX40" fmla="*/ 3614057 w 9164933"/>
                    <a:gd name="connsiteY40" fmla="*/ 1370762 h 3373734"/>
                    <a:gd name="connsiteX41" fmla="*/ 4604657 w 9164933"/>
                    <a:gd name="connsiteY41" fmla="*/ 1588477 h 3373734"/>
                    <a:gd name="connsiteX42" fmla="*/ 5529942 w 9164933"/>
                    <a:gd name="connsiteY42" fmla="*/ 1817077 h 3373734"/>
                    <a:gd name="connsiteX43" fmla="*/ 5867400 w 9164933"/>
                    <a:gd name="connsiteY43" fmla="*/ 1947705 h 3373734"/>
                    <a:gd name="connsiteX44" fmla="*/ 5998028 w 9164933"/>
                    <a:gd name="connsiteY44" fmla="*/ 2067448 h 3373734"/>
                    <a:gd name="connsiteX45" fmla="*/ 5780314 w 9164933"/>
                    <a:gd name="connsiteY45" fmla="*/ 2154534 h 3373734"/>
                    <a:gd name="connsiteX46" fmla="*/ 5236028 w 9164933"/>
                    <a:gd name="connsiteY46" fmla="*/ 2263391 h 3373734"/>
                    <a:gd name="connsiteX47" fmla="*/ 4147457 w 9164933"/>
                    <a:gd name="connsiteY47" fmla="*/ 2361362 h 3373734"/>
                    <a:gd name="connsiteX48" fmla="*/ 3113314 w 9164933"/>
                    <a:gd name="connsiteY48" fmla="*/ 2394019 h 3373734"/>
                    <a:gd name="connsiteX49" fmla="*/ 1915885 w 9164933"/>
                    <a:gd name="connsiteY49" fmla="*/ 2426677 h 3373734"/>
                    <a:gd name="connsiteX50" fmla="*/ 631371 w 9164933"/>
                    <a:gd name="connsiteY50" fmla="*/ 2448448 h 3373734"/>
                    <a:gd name="connsiteX51" fmla="*/ 239485 w 9164933"/>
                    <a:gd name="connsiteY51" fmla="*/ 2470219 h 3373734"/>
                    <a:gd name="connsiteX52" fmla="*/ 32657 w 9164933"/>
                    <a:gd name="connsiteY52" fmla="*/ 2448448 h 3373734"/>
                    <a:gd name="connsiteX53" fmla="*/ 32657 w 9164933"/>
                    <a:gd name="connsiteY53" fmla="*/ 2698819 h 3373734"/>
                    <a:gd name="connsiteX54" fmla="*/ 21771 w 9164933"/>
                    <a:gd name="connsiteY54" fmla="*/ 3112477 h 3373734"/>
                    <a:gd name="connsiteX55" fmla="*/ 0 w 9164933"/>
                    <a:gd name="connsiteY55"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61514 w 9164933"/>
                    <a:gd name="connsiteY20" fmla="*/ 652305 h 3373734"/>
                    <a:gd name="connsiteX21" fmla="*/ 6466114 w 9164933"/>
                    <a:gd name="connsiteY21" fmla="*/ 391048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608465 w 9164933"/>
                    <a:gd name="connsiteY32" fmla="*/ 679101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66114 w 9164933"/>
                    <a:gd name="connsiteY21" fmla="*/ 391048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608465 w 9164933"/>
                    <a:gd name="connsiteY32" fmla="*/ 679101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66114 w 9164933"/>
                    <a:gd name="connsiteY21" fmla="*/ 391048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608465 w 9164933"/>
                    <a:gd name="connsiteY32" fmla="*/ 679101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66114 w 9164933"/>
                    <a:gd name="connsiteY21" fmla="*/ 391048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608465 w 9164933"/>
                    <a:gd name="connsiteY32" fmla="*/ 679101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66114 w 9164933"/>
                    <a:gd name="connsiteY21" fmla="*/ 391048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724021 w 9164933"/>
                    <a:gd name="connsiteY32" fmla="*/ 664029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66114 w 9164933"/>
                    <a:gd name="connsiteY21" fmla="*/ 391048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844601 w 9164933"/>
                    <a:gd name="connsiteY32" fmla="*/ 694174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87142 w 9164933"/>
                    <a:gd name="connsiteY22" fmla="*/ 293077 h 3373734"/>
                    <a:gd name="connsiteX23" fmla="*/ 5976257 w 9164933"/>
                    <a:gd name="connsiteY23" fmla="*/ 249534 h 3373734"/>
                    <a:gd name="connsiteX24" fmla="*/ 6607628 w 9164933"/>
                    <a:gd name="connsiteY24" fmla="*/ 260419 h 3373734"/>
                    <a:gd name="connsiteX25" fmla="*/ 9164933 w 9164933"/>
                    <a:gd name="connsiteY25" fmla="*/ 256232 h 3373734"/>
                    <a:gd name="connsiteX26" fmla="*/ 9164097 w 9164933"/>
                    <a:gd name="connsiteY26" fmla="*/ 0 h 3373734"/>
                    <a:gd name="connsiteX27" fmla="*/ 6814457 w 9164933"/>
                    <a:gd name="connsiteY27" fmla="*/ 10048 h 3373734"/>
                    <a:gd name="connsiteX28" fmla="*/ 5867400 w 9164933"/>
                    <a:gd name="connsiteY28" fmla="*/ 20934 h 3373734"/>
                    <a:gd name="connsiteX29" fmla="*/ 5072742 w 9164933"/>
                    <a:gd name="connsiteY29" fmla="*/ 53590 h 3373734"/>
                    <a:gd name="connsiteX30" fmla="*/ 5029200 w 9164933"/>
                    <a:gd name="connsiteY30" fmla="*/ 293077 h 3373734"/>
                    <a:gd name="connsiteX31" fmla="*/ 5932714 w 9164933"/>
                    <a:gd name="connsiteY31" fmla="*/ 521677 h 3373734"/>
                    <a:gd name="connsiteX32" fmla="*/ 6844601 w 9164933"/>
                    <a:gd name="connsiteY32" fmla="*/ 694174 h 3373734"/>
                    <a:gd name="connsiteX33" fmla="*/ 6574971 w 9164933"/>
                    <a:gd name="connsiteY33" fmla="*/ 761162 h 3373734"/>
                    <a:gd name="connsiteX34" fmla="*/ 5845628 w 9164933"/>
                    <a:gd name="connsiteY34" fmla="*/ 837362 h 3373734"/>
                    <a:gd name="connsiteX35" fmla="*/ 4942114 w 9164933"/>
                    <a:gd name="connsiteY35" fmla="*/ 924448 h 3373734"/>
                    <a:gd name="connsiteX36" fmla="*/ 3374571 w 9164933"/>
                    <a:gd name="connsiteY36" fmla="*/ 1055077 h 3373734"/>
                    <a:gd name="connsiteX37" fmla="*/ 3265714 w 9164933"/>
                    <a:gd name="connsiteY37" fmla="*/ 1120391 h 3373734"/>
                    <a:gd name="connsiteX38" fmla="*/ 3265714 w 9164933"/>
                    <a:gd name="connsiteY38" fmla="*/ 1261905 h 3373734"/>
                    <a:gd name="connsiteX39" fmla="*/ 3614057 w 9164933"/>
                    <a:gd name="connsiteY39" fmla="*/ 1370762 h 3373734"/>
                    <a:gd name="connsiteX40" fmla="*/ 4604657 w 9164933"/>
                    <a:gd name="connsiteY40" fmla="*/ 1588477 h 3373734"/>
                    <a:gd name="connsiteX41" fmla="*/ 5529942 w 9164933"/>
                    <a:gd name="connsiteY41" fmla="*/ 1817077 h 3373734"/>
                    <a:gd name="connsiteX42" fmla="*/ 5867400 w 9164933"/>
                    <a:gd name="connsiteY42" fmla="*/ 1947705 h 3373734"/>
                    <a:gd name="connsiteX43" fmla="*/ 5998028 w 9164933"/>
                    <a:gd name="connsiteY43" fmla="*/ 2067448 h 3373734"/>
                    <a:gd name="connsiteX44" fmla="*/ 5780314 w 9164933"/>
                    <a:gd name="connsiteY44" fmla="*/ 2154534 h 3373734"/>
                    <a:gd name="connsiteX45" fmla="*/ 5236028 w 9164933"/>
                    <a:gd name="connsiteY45" fmla="*/ 2263391 h 3373734"/>
                    <a:gd name="connsiteX46" fmla="*/ 4147457 w 9164933"/>
                    <a:gd name="connsiteY46" fmla="*/ 2361362 h 3373734"/>
                    <a:gd name="connsiteX47" fmla="*/ 3113314 w 9164933"/>
                    <a:gd name="connsiteY47" fmla="*/ 2394019 h 3373734"/>
                    <a:gd name="connsiteX48" fmla="*/ 1915885 w 9164933"/>
                    <a:gd name="connsiteY48" fmla="*/ 2426677 h 3373734"/>
                    <a:gd name="connsiteX49" fmla="*/ 631371 w 9164933"/>
                    <a:gd name="connsiteY49" fmla="*/ 2448448 h 3373734"/>
                    <a:gd name="connsiteX50" fmla="*/ 239485 w 9164933"/>
                    <a:gd name="connsiteY50" fmla="*/ 2470219 h 3373734"/>
                    <a:gd name="connsiteX51" fmla="*/ 32657 w 9164933"/>
                    <a:gd name="connsiteY51" fmla="*/ 2448448 h 3373734"/>
                    <a:gd name="connsiteX52" fmla="*/ 32657 w 9164933"/>
                    <a:gd name="connsiteY52" fmla="*/ 2698819 h 3373734"/>
                    <a:gd name="connsiteX53" fmla="*/ 21771 w 9164933"/>
                    <a:gd name="connsiteY53" fmla="*/ 3112477 h 3373734"/>
                    <a:gd name="connsiteX54" fmla="*/ 0 w 9164933"/>
                    <a:gd name="connsiteY54"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120391 h 3373734"/>
                    <a:gd name="connsiteX37" fmla="*/ 3265714 w 9164933"/>
                    <a:gd name="connsiteY37" fmla="*/ 1261905 h 3373734"/>
                    <a:gd name="connsiteX38" fmla="*/ 3614057 w 9164933"/>
                    <a:gd name="connsiteY38" fmla="*/ 1370762 h 3373734"/>
                    <a:gd name="connsiteX39" fmla="*/ 4604657 w 9164933"/>
                    <a:gd name="connsiteY39" fmla="*/ 1588477 h 3373734"/>
                    <a:gd name="connsiteX40" fmla="*/ 5529942 w 9164933"/>
                    <a:gd name="connsiteY40" fmla="*/ 1817077 h 3373734"/>
                    <a:gd name="connsiteX41" fmla="*/ 5867400 w 9164933"/>
                    <a:gd name="connsiteY41" fmla="*/ 1947705 h 3373734"/>
                    <a:gd name="connsiteX42" fmla="*/ 5998028 w 9164933"/>
                    <a:gd name="connsiteY42" fmla="*/ 2067448 h 3373734"/>
                    <a:gd name="connsiteX43" fmla="*/ 5780314 w 9164933"/>
                    <a:gd name="connsiteY43" fmla="*/ 2154534 h 3373734"/>
                    <a:gd name="connsiteX44" fmla="*/ 5236028 w 9164933"/>
                    <a:gd name="connsiteY44" fmla="*/ 2263391 h 3373734"/>
                    <a:gd name="connsiteX45" fmla="*/ 4147457 w 9164933"/>
                    <a:gd name="connsiteY45" fmla="*/ 2361362 h 3373734"/>
                    <a:gd name="connsiteX46" fmla="*/ 3113314 w 9164933"/>
                    <a:gd name="connsiteY46" fmla="*/ 2394019 h 3373734"/>
                    <a:gd name="connsiteX47" fmla="*/ 1915885 w 9164933"/>
                    <a:gd name="connsiteY47" fmla="*/ 2426677 h 3373734"/>
                    <a:gd name="connsiteX48" fmla="*/ 631371 w 9164933"/>
                    <a:gd name="connsiteY48" fmla="*/ 2448448 h 3373734"/>
                    <a:gd name="connsiteX49" fmla="*/ 239485 w 9164933"/>
                    <a:gd name="connsiteY49" fmla="*/ 2470219 h 3373734"/>
                    <a:gd name="connsiteX50" fmla="*/ 32657 w 9164933"/>
                    <a:gd name="connsiteY50" fmla="*/ 2448448 h 3373734"/>
                    <a:gd name="connsiteX51" fmla="*/ 32657 w 9164933"/>
                    <a:gd name="connsiteY51" fmla="*/ 2698819 h 3373734"/>
                    <a:gd name="connsiteX52" fmla="*/ 21771 w 9164933"/>
                    <a:gd name="connsiteY52" fmla="*/ 3112477 h 3373734"/>
                    <a:gd name="connsiteX53" fmla="*/ 0 w 9164933"/>
                    <a:gd name="connsiteY53"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3614057 w 9164933"/>
                    <a:gd name="connsiteY37" fmla="*/ 1370762 h 3373734"/>
                    <a:gd name="connsiteX38" fmla="*/ 4604657 w 9164933"/>
                    <a:gd name="connsiteY38" fmla="*/ 1588477 h 3373734"/>
                    <a:gd name="connsiteX39" fmla="*/ 5529942 w 9164933"/>
                    <a:gd name="connsiteY39" fmla="*/ 1817077 h 3373734"/>
                    <a:gd name="connsiteX40" fmla="*/ 5867400 w 9164933"/>
                    <a:gd name="connsiteY40" fmla="*/ 1947705 h 3373734"/>
                    <a:gd name="connsiteX41" fmla="*/ 5998028 w 9164933"/>
                    <a:gd name="connsiteY41" fmla="*/ 2067448 h 3373734"/>
                    <a:gd name="connsiteX42" fmla="*/ 5780314 w 9164933"/>
                    <a:gd name="connsiteY42" fmla="*/ 2154534 h 3373734"/>
                    <a:gd name="connsiteX43" fmla="*/ 5236028 w 9164933"/>
                    <a:gd name="connsiteY43" fmla="*/ 2263391 h 3373734"/>
                    <a:gd name="connsiteX44" fmla="*/ 4147457 w 9164933"/>
                    <a:gd name="connsiteY44" fmla="*/ 2361362 h 3373734"/>
                    <a:gd name="connsiteX45" fmla="*/ 3113314 w 9164933"/>
                    <a:gd name="connsiteY45" fmla="*/ 2394019 h 3373734"/>
                    <a:gd name="connsiteX46" fmla="*/ 1915885 w 9164933"/>
                    <a:gd name="connsiteY46" fmla="*/ 2426677 h 3373734"/>
                    <a:gd name="connsiteX47" fmla="*/ 631371 w 9164933"/>
                    <a:gd name="connsiteY47" fmla="*/ 2448448 h 3373734"/>
                    <a:gd name="connsiteX48" fmla="*/ 239485 w 9164933"/>
                    <a:gd name="connsiteY48" fmla="*/ 2470219 h 3373734"/>
                    <a:gd name="connsiteX49" fmla="*/ 32657 w 9164933"/>
                    <a:gd name="connsiteY49" fmla="*/ 2448448 h 3373734"/>
                    <a:gd name="connsiteX50" fmla="*/ 32657 w 9164933"/>
                    <a:gd name="connsiteY50" fmla="*/ 2698819 h 3373734"/>
                    <a:gd name="connsiteX51" fmla="*/ 21771 w 9164933"/>
                    <a:gd name="connsiteY51" fmla="*/ 3112477 h 3373734"/>
                    <a:gd name="connsiteX52" fmla="*/ 0 w 9164933"/>
                    <a:gd name="connsiteY5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3614057 w 9164933"/>
                    <a:gd name="connsiteY37" fmla="*/ 1370762 h 3373734"/>
                    <a:gd name="connsiteX38" fmla="*/ 4604657 w 9164933"/>
                    <a:gd name="connsiteY38" fmla="*/ 1588477 h 3373734"/>
                    <a:gd name="connsiteX39" fmla="*/ 5529942 w 9164933"/>
                    <a:gd name="connsiteY39" fmla="*/ 1817077 h 3373734"/>
                    <a:gd name="connsiteX40" fmla="*/ 5867400 w 9164933"/>
                    <a:gd name="connsiteY40" fmla="*/ 1947705 h 3373734"/>
                    <a:gd name="connsiteX41" fmla="*/ 5998028 w 9164933"/>
                    <a:gd name="connsiteY41" fmla="*/ 2067448 h 3373734"/>
                    <a:gd name="connsiteX42" fmla="*/ 5780314 w 9164933"/>
                    <a:gd name="connsiteY42" fmla="*/ 2154534 h 3373734"/>
                    <a:gd name="connsiteX43" fmla="*/ 5236028 w 9164933"/>
                    <a:gd name="connsiteY43" fmla="*/ 2263391 h 3373734"/>
                    <a:gd name="connsiteX44" fmla="*/ 4147457 w 9164933"/>
                    <a:gd name="connsiteY44" fmla="*/ 2361362 h 3373734"/>
                    <a:gd name="connsiteX45" fmla="*/ 3113314 w 9164933"/>
                    <a:gd name="connsiteY45" fmla="*/ 2394019 h 3373734"/>
                    <a:gd name="connsiteX46" fmla="*/ 1915885 w 9164933"/>
                    <a:gd name="connsiteY46" fmla="*/ 2426677 h 3373734"/>
                    <a:gd name="connsiteX47" fmla="*/ 631371 w 9164933"/>
                    <a:gd name="connsiteY47" fmla="*/ 2448448 h 3373734"/>
                    <a:gd name="connsiteX48" fmla="*/ 239485 w 9164933"/>
                    <a:gd name="connsiteY48" fmla="*/ 2470219 h 3373734"/>
                    <a:gd name="connsiteX49" fmla="*/ 32657 w 9164933"/>
                    <a:gd name="connsiteY49" fmla="*/ 2448448 h 3373734"/>
                    <a:gd name="connsiteX50" fmla="*/ 32657 w 9164933"/>
                    <a:gd name="connsiteY50" fmla="*/ 2698819 h 3373734"/>
                    <a:gd name="connsiteX51" fmla="*/ 21771 w 9164933"/>
                    <a:gd name="connsiteY51" fmla="*/ 3112477 h 3373734"/>
                    <a:gd name="connsiteX52" fmla="*/ 0 w 9164933"/>
                    <a:gd name="connsiteY5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3614057 w 9164933"/>
                    <a:gd name="connsiteY37" fmla="*/ 1370762 h 3373734"/>
                    <a:gd name="connsiteX38" fmla="*/ 4604657 w 9164933"/>
                    <a:gd name="connsiteY38" fmla="*/ 1588477 h 3373734"/>
                    <a:gd name="connsiteX39" fmla="*/ 5529942 w 9164933"/>
                    <a:gd name="connsiteY39" fmla="*/ 1817077 h 3373734"/>
                    <a:gd name="connsiteX40" fmla="*/ 5867400 w 9164933"/>
                    <a:gd name="connsiteY40" fmla="*/ 1947705 h 3373734"/>
                    <a:gd name="connsiteX41" fmla="*/ 5998028 w 9164933"/>
                    <a:gd name="connsiteY41" fmla="*/ 2067448 h 3373734"/>
                    <a:gd name="connsiteX42" fmla="*/ 5780314 w 9164933"/>
                    <a:gd name="connsiteY42" fmla="*/ 2154534 h 3373734"/>
                    <a:gd name="connsiteX43" fmla="*/ 5236028 w 9164933"/>
                    <a:gd name="connsiteY43" fmla="*/ 2263391 h 3373734"/>
                    <a:gd name="connsiteX44" fmla="*/ 4147457 w 9164933"/>
                    <a:gd name="connsiteY44" fmla="*/ 2361362 h 3373734"/>
                    <a:gd name="connsiteX45" fmla="*/ 3113314 w 9164933"/>
                    <a:gd name="connsiteY45" fmla="*/ 2394019 h 3373734"/>
                    <a:gd name="connsiteX46" fmla="*/ 1915885 w 9164933"/>
                    <a:gd name="connsiteY46" fmla="*/ 2426677 h 3373734"/>
                    <a:gd name="connsiteX47" fmla="*/ 631371 w 9164933"/>
                    <a:gd name="connsiteY47" fmla="*/ 2448448 h 3373734"/>
                    <a:gd name="connsiteX48" fmla="*/ 239485 w 9164933"/>
                    <a:gd name="connsiteY48" fmla="*/ 2470219 h 3373734"/>
                    <a:gd name="connsiteX49" fmla="*/ 32657 w 9164933"/>
                    <a:gd name="connsiteY49" fmla="*/ 2448448 h 3373734"/>
                    <a:gd name="connsiteX50" fmla="*/ 32657 w 9164933"/>
                    <a:gd name="connsiteY50" fmla="*/ 2698819 h 3373734"/>
                    <a:gd name="connsiteX51" fmla="*/ 21771 w 9164933"/>
                    <a:gd name="connsiteY51" fmla="*/ 3112477 h 3373734"/>
                    <a:gd name="connsiteX52" fmla="*/ 0 w 9164933"/>
                    <a:gd name="connsiteY5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3614057 w 9164933"/>
                    <a:gd name="connsiteY37" fmla="*/ 1370762 h 3373734"/>
                    <a:gd name="connsiteX38" fmla="*/ 4604657 w 9164933"/>
                    <a:gd name="connsiteY38" fmla="*/ 1588477 h 3373734"/>
                    <a:gd name="connsiteX39" fmla="*/ 5529942 w 9164933"/>
                    <a:gd name="connsiteY39" fmla="*/ 1817077 h 3373734"/>
                    <a:gd name="connsiteX40" fmla="*/ 5998028 w 9164933"/>
                    <a:gd name="connsiteY40" fmla="*/ 2067448 h 3373734"/>
                    <a:gd name="connsiteX41" fmla="*/ 5780314 w 9164933"/>
                    <a:gd name="connsiteY41" fmla="*/ 2154534 h 3373734"/>
                    <a:gd name="connsiteX42" fmla="*/ 5236028 w 9164933"/>
                    <a:gd name="connsiteY42" fmla="*/ 2263391 h 3373734"/>
                    <a:gd name="connsiteX43" fmla="*/ 4147457 w 9164933"/>
                    <a:gd name="connsiteY43" fmla="*/ 2361362 h 3373734"/>
                    <a:gd name="connsiteX44" fmla="*/ 3113314 w 9164933"/>
                    <a:gd name="connsiteY44" fmla="*/ 2394019 h 3373734"/>
                    <a:gd name="connsiteX45" fmla="*/ 1915885 w 9164933"/>
                    <a:gd name="connsiteY45" fmla="*/ 2426677 h 3373734"/>
                    <a:gd name="connsiteX46" fmla="*/ 631371 w 9164933"/>
                    <a:gd name="connsiteY46" fmla="*/ 2448448 h 3373734"/>
                    <a:gd name="connsiteX47" fmla="*/ 239485 w 9164933"/>
                    <a:gd name="connsiteY47" fmla="*/ 2470219 h 3373734"/>
                    <a:gd name="connsiteX48" fmla="*/ 32657 w 9164933"/>
                    <a:gd name="connsiteY48" fmla="*/ 2448448 h 3373734"/>
                    <a:gd name="connsiteX49" fmla="*/ 32657 w 9164933"/>
                    <a:gd name="connsiteY49" fmla="*/ 2698819 h 3373734"/>
                    <a:gd name="connsiteX50" fmla="*/ 21771 w 9164933"/>
                    <a:gd name="connsiteY50" fmla="*/ 3112477 h 3373734"/>
                    <a:gd name="connsiteX51" fmla="*/ 0 w 9164933"/>
                    <a:gd name="connsiteY51"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3614057 w 9164933"/>
                    <a:gd name="connsiteY37" fmla="*/ 1370762 h 3373734"/>
                    <a:gd name="connsiteX38" fmla="*/ 5529942 w 9164933"/>
                    <a:gd name="connsiteY38" fmla="*/ 1817077 h 3373734"/>
                    <a:gd name="connsiteX39" fmla="*/ 5998028 w 9164933"/>
                    <a:gd name="connsiteY39" fmla="*/ 2067448 h 3373734"/>
                    <a:gd name="connsiteX40" fmla="*/ 5780314 w 9164933"/>
                    <a:gd name="connsiteY40" fmla="*/ 2154534 h 3373734"/>
                    <a:gd name="connsiteX41" fmla="*/ 5236028 w 9164933"/>
                    <a:gd name="connsiteY41" fmla="*/ 2263391 h 3373734"/>
                    <a:gd name="connsiteX42" fmla="*/ 4147457 w 9164933"/>
                    <a:gd name="connsiteY42" fmla="*/ 2361362 h 3373734"/>
                    <a:gd name="connsiteX43" fmla="*/ 3113314 w 9164933"/>
                    <a:gd name="connsiteY43" fmla="*/ 2394019 h 3373734"/>
                    <a:gd name="connsiteX44" fmla="*/ 1915885 w 9164933"/>
                    <a:gd name="connsiteY44" fmla="*/ 2426677 h 3373734"/>
                    <a:gd name="connsiteX45" fmla="*/ 631371 w 9164933"/>
                    <a:gd name="connsiteY45" fmla="*/ 2448448 h 3373734"/>
                    <a:gd name="connsiteX46" fmla="*/ 239485 w 9164933"/>
                    <a:gd name="connsiteY46" fmla="*/ 2470219 h 3373734"/>
                    <a:gd name="connsiteX47" fmla="*/ 32657 w 9164933"/>
                    <a:gd name="connsiteY47" fmla="*/ 2448448 h 3373734"/>
                    <a:gd name="connsiteX48" fmla="*/ 32657 w 9164933"/>
                    <a:gd name="connsiteY48" fmla="*/ 2698819 h 3373734"/>
                    <a:gd name="connsiteX49" fmla="*/ 21771 w 9164933"/>
                    <a:gd name="connsiteY49" fmla="*/ 3112477 h 3373734"/>
                    <a:gd name="connsiteX50" fmla="*/ 0 w 9164933"/>
                    <a:gd name="connsiteY50"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998028 w 9164933"/>
                    <a:gd name="connsiteY38" fmla="*/ 2067448 h 3373734"/>
                    <a:gd name="connsiteX39" fmla="*/ 5780314 w 9164933"/>
                    <a:gd name="connsiteY39" fmla="*/ 2154534 h 3373734"/>
                    <a:gd name="connsiteX40" fmla="*/ 5236028 w 9164933"/>
                    <a:gd name="connsiteY40" fmla="*/ 2263391 h 3373734"/>
                    <a:gd name="connsiteX41" fmla="*/ 4147457 w 9164933"/>
                    <a:gd name="connsiteY41" fmla="*/ 2361362 h 3373734"/>
                    <a:gd name="connsiteX42" fmla="*/ 3113314 w 9164933"/>
                    <a:gd name="connsiteY42" fmla="*/ 2394019 h 3373734"/>
                    <a:gd name="connsiteX43" fmla="*/ 1915885 w 9164933"/>
                    <a:gd name="connsiteY43" fmla="*/ 2426677 h 3373734"/>
                    <a:gd name="connsiteX44" fmla="*/ 631371 w 9164933"/>
                    <a:gd name="connsiteY44" fmla="*/ 2448448 h 3373734"/>
                    <a:gd name="connsiteX45" fmla="*/ 239485 w 9164933"/>
                    <a:gd name="connsiteY45" fmla="*/ 2470219 h 3373734"/>
                    <a:gd name="connsiteX46" fmla="*/ 32657 w 9164933"/>
                    <a:gd name="connsiteY46" fmla="*/ 2448448 h 3373734"/>
                    <a:gd name="connsiteX47" fmla="*/ 32657 w 9164933"/>
                    <a:gd name="connsiteY47" fmla="*/ 2698819 h 3373734"/>
                    <a:gd name="connsiteX48" fmla="*/ 21771 w 9164933"/>
                    <a:gd name="connsiteY48" fmla="*/ 3112477 h 3373734"/>
                    <a:gd name="connsiteX49" fmla="*/ 0 w 9164933"/>
                    <a:gd name="connsiteY49"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5236028 w 9164933"/>
                    <a:gd name="connsiteY39" fmla="*/ 2263391 h 3373734"/>
                    <a:gd name="connsiteX40" fmla="*/ 4147457 w 9164933"/>
                    <a:gd name="connsiteY40" fmla="*/ 2361362 h 3373734"/>
                    <a:gd name="connsiteX41" fmla="*/ 3113314 w 9164933"/>
                    <a:gd name="connsiteY41" fmla="*/ 2394019 h 3373734"/>
                    <a:gd name="connsiteX42" fmla="*/ 1915885 w 9164933"/>
                    <a:gd name="connsiteY42" fmla="*/ 2426677 h 3373734"/>
                    <a:gd name="connsiteX43" fmla="*/ 631371 w 9164933"/>
                    <a:gd name="connsiteY43" fmla="*/ 2448448 h 3373734"/>
                    <a:gd name="connsiteX44" fmla="*/ 239485 w 9164933"/>
                    <a:gd name="connsiteY44" fmla="*/ 2470219 h 3373734"/>
                    <a:gd name="connsiteX45" fmla="*/ 32657 w 9164933"/>
                    <a:gd name="connsiteY45" fmla="*/ 2448448 h 3373734"/>
                    <a:gd name="connsiteX46" fmla="*/ 32657 w 9164933"/>
                    <a:gd name="connsiteY46" fmla="*/ 2698819 h 3373734"/>
                    <a:gd name="connsiteX47" fmla="*/ 21771 w 9164933"/>
                    <a:gd name="connsiteY47" fmla="*/ 3112477 h 3373734"/>
                    <a:gd name="connsiteX48" fmla="*/ 0 w 9164933"/>
                    <a:gd name="connsiteY48"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5236028 w 9164933"/>
                    <a:gd name="connsiteY39" fmla="*/ 2263391 h 3373734"/>
                    <a:gd name="connsiteX40" fmla="*/ 4147457 w 9164933"/>
                    <a:gd name="connsiteY40" fmla="*/ 2361362 h 3373734"/>
                    <a:gd name="connsiteX41" fmla="*/ 1915885 w 9164933"/>
                    <a:gd name="connsiteY41" fmla="*/ 2426677 h 3373734"/>
                    <a:gd name="connsiteX42" fmla="*/ 631371 w 9164933"/>
                    <a:gd name="connsiteY42" fmla="*/ 2448448 h 3373734"/>
                    <a:gd name="connsiteX43" fmla="*/ 239485 w 9164933"/>
                    <a:gd name="connsiteY43" fmla="*/ 2470219 h 3373734"/>
                    <a:gd name="connsiteX44" fmla="*/ 32657 w 9164933"/>
                    <a:gd name="connsiteY44" fmla="*/ 2448448 h 3373734"/>
                    <a:gd name="connsiteX45" fmla="*/ 32657 w 9164933"/>
                    <a:gd name="connsiteY45" fmla="*/ 2698819 h 3373734"/>
                    <a:gd name="connsiteX46" fmla="*/ 21771 w 9164933"/>
                    <a:gd name="connsiteY46" fmla="*/ 3112477 h 3373734"/>
                    <a:gd name="connsiteX47" fmla="*/ 0 w 9164933"/>
                    <a:gd name="connsiteY47"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5236028 w 9164933"/>
                    <a:gd name="connsiteY39" fmla="*/ 2263391 h 3373734"/>
                    <a:gd name="connsiteX40" fmla="*/ 4147457 w 9164933"/>
                    <a:gd name="connsiteY40" fmla="*/ 2361362 h 3373734"/>
                    <a:gd name="connsiteX41" fmla="*/ 1915885 w 9164933"/>
                    <a:gd name="connsiteY41" fmla="*/ 2426677 h 3373734"/>
                    <a:gd name="connsiteX42" fmla="*/ 631371 w 9164933"/>
                    <a:gd name="connsiteY42" fmla="*/ 2448448 h 3373734"/>
                    <a:gd name="connsiteX43" fmla="*/ 32657 w 9164933"/>
                    <a:gd name="connsiteY43" fmla="*/ 2448448 h 3373734"/>
                    <a:gd name="connsiteX44" fmla="*/ 32657 w 9164933"/>
                    <a:gd name="connsiteY44" fmla="*/ 2698819 h 3373734"/>
                    <a:gd name="connsiteX45" fmla="*/ 21771 w 9164933"/>
                    <a:gd name="connsiteY45" fmla="*/ 3112477 h 3373734"/>
                    <a:gd name="connsiteX46" fmla="*/ 0 w 9164933"/>
                    <a:gd name="connsiteY46"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5236028 w 9164933"/>
                    <a:gd name="connsiteY39" fmla="*/ 2263391 h 3373734"/>
                    <a:gd name="connsiteX40" fmla="*/ 4147457 w 9164933"/>
                    <a:gd name="connsiteY40" fmla="*/ 2361362 h 3373734"/>
                    <a:gd name="connsiteX41" fmla="*/ 1915885 w 9164933"/>
                    <a:gd name="connsiteY41" fmla="*/ 2426677 h 3373734"/>
                    <a:gd name="connsiteX42" fmla="*/ 32657 w 9164933"/>
                    <a:gd name="connsiteY42" fmla="*/ 2448448 h 3373734"/>
                    <a:gd name="connsiteX43" fmla="*/ 32657 w 9164933"/>
                    <a:gd name="connsiteY43" fmla="*/ 2698819 h 3373734"/>
                    <a:gd name="connsiteX44" fmla="*/ 21771 w 9164933"/>
                    <a:gd name="connsiteY44" fmla="*/ 3112477 h 3373734"/>
                    <a:gd name="connsiteX45" fmla="*/ 0 w 9164933"/>
                    <a:gd name="connsiteY45"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4147457 w 9164933"/>
                    <a:gd name="connsiteY39" fmla="*/ 2361362 h 3373734"/>
                    <a:gd name="connsiteX40" fmla="*/ 1915885 w 9164933"/>
                    <a:gd name="connsiteY40" fmla="*/ 2426677 h 3373734"/>
                    <a:gd name="connsiteX41" fmla="*/ 32657 w 9164933"/>
                    <a:gd name="connsiteY41" fmla="*/ 2448448 h 3373734"/>
                    <a:gd name="connsiteX42" fmla="*/ 32657 w 9164933"/>
                    <a:gd name="connsiteY42" fmla="*/ 2698819 h 3373734"/>
                    <a:gd name="connsiteX43" fmla="*/ 21771 w 9164933"/>
                    <a:gd name="connsiteY43" fmla="*/ 3112477 h 3373734"/>
                    <a:gd name="connsiteX44" fmla="*/ 0 w 9164933"/>
                    <a:gd name="connsiteY44" fmla="*/ 3373734 h 3373734"/>
                    <a:gd name="connsiteX0" fmla="*/ 46051 w 9210984"/>
                    <a:gd name="connsiteY0" fmla="*/ 3373734 h 3373734"/>
                    <a:gd name="connsiteX1" fmla="*/ 786279 w 9210984"/>
                    <a:gd name="connsiteY1" fmla="*/ 3362848 h 3373734"/>
                    <a:gd name="connsiteX2" fmla="*/ 2440908 w 9210984"/>
                    <a:gd name="connsiteY2" fmla="*/ 3319305 h 3373734"/>
                    <a:gd name="connsiteX3" fmla="*/ 3997565 w 9210984"/>
                    <a:gd name="connsiteY3" fmla="*/ 3232219 h 3373734"/>
                    <a:gd name="connsiteX4" fmla="*/ 5478022 w 9210984"/>
                    <a:gd name="connsiteY4" fmla="*/ 3101591 h 3373734"/>
                    <a:gd name="connsiteX5" fmla="*/ 6207365 w 9210984"/>
                    <a:gd name="connsiteY5" fmla="*/ 2970962 h 3373734"/>
                    <a:gd name="connsiteX6" fmla="*/ 6958479 w 9210984"/>
                    <a:gd name="connsiteY6" fmla="*/ 2818562 h 3373734"/>
                    <a:gd name="connsiteX7" fmla="*/ 7502765 w 9210984"/>
                    <a:gd name="connsiteY7" fmla="*/ 2579077 h 3373734"/>
                    <a:gd name="connsiteX8" fmla="*/ 7807565 w 9210984"/>
                    <a:gd name="connsiteY8" fmla="*/ 2317819 h 3373734"/>
                    <a:gd name="connsiteX9" fmla="*/ 7829336 w 9210984"/>
                    <a:gd name="connsiteY9" fmla="*/ 2089219 h 3373734"/>
                    <a:gd name="connsiteX10" fmla="*/ 7753136 w 9210984"/>
                    <a:gd name="connsiteY10" fmla="*/ 1936820 h 3373734"/>
                    <a:gd name="connsiteX11" fmla="*/ 7524536 w 9210984"/>
                    <a:gd name="connsiteY11" fmla="*/ 1806191 h 3373734"/>
                    <a:gd name="connsiteX12" fmla="*/ 7078222 w 9210984"/>
                    <a:gd name="connsiteY12" fmla="*/ 1686448 h 3373734"/>
                    <a:gd name="connsiteX13" fmla="*/ 6359765 w 9210984"/>
                    <a:gd name="connsiteY13" fmla="*/ 1544934 h 3373734"/>
                    <a:gd name="connsiteX14" fmla="*/ 5717508 w 9210984"/>
                    <a:gd name="connsiteY14" fmla="*/ 1425191 h 3373734"/>
                    <a:gd name="connsiteX15" fmla="*/ 5467136 w 9210984"/>
                    <a:gd name="connsiteY15" fmla="*/ 1370762 h 3373734"/>
                    <a:gd name="connsiteX16" fmla="*/ 5216765 w 9210984"/>
                    <a:gd name="connsiteY16" fmla="*/ 1305448 h 3373734"/>
                    <a:gd name="connsiteX17" fmla="*/ 5238536 w 9210984"/>
                    <a:gd name="connsiteY17" fmla="*/ 1272791 h 3373734"/>
                    <a:gd name="connsiteX18" fmla="*/ 5750165 w 9210984"/>
                    <a:gd name="connsiteY18" fmla="*/ 1207477 h 3373734"/>
                    <a:gd name="connsiteX19" fmla="*/ 8068821 w 9210984"/>
                    <a:gd name="connsiteY19" fmla="*/ 935334 h 3373734"/>
                    <a:gd name="connsiteX20" fmla="*/ 7822637 w 9210984"/>
                    <a:gd name="connsiteY20" fmla="*/ 612112 h 3373734"/>
                    <a:gd name="connsiteX21" fmla="*/ 6527237 w 9210984"/>
                    <a:gd name="connsiteY21" fmla="*/ 360903 h 3373734"/>
                    <a:gd name="connsiteX22" fmla="*/ 6022308 w 9210984"/>
                    <a:gd name="connsiteY22" fmla="*/ 249534 h 3373734"/>
                    <a:gd name="connsiteX23" fmla="*/ 6653679 w 9210984"/>
                    <a:gd name="connsiteY23" fmla="*/ 260419 h 3373734"/>
                    <a:gd name="connsiteX24" fmla="*/ 9210984 w 9210984"/>
                    <a:gd name="connsiteY24" fmla="*/ 256232 h 3373734"/>
                    <a:gd name="connsiteX25" fmla="*/ 9210148 w 9210984"/>
                    <a:gd name="connsiteY25" fmla="*/ 0 h 3373734"/>
                    <a:gd name="connsiteX26" fmla="*/ 6860508 w 9210984"/>
                    <a:gd name="connsiteY26" fmla="*/ 10048 h 3373734"/>
                    <a:gd name="connsiteX27" fmla="*/ 5913451 w 9210984"/>
                    <a:gd name="connsiteY27" fmla="*/ 20934 h 3373734"/>
                    <a:gd name="connsiteX28" fmla="*/ 5118793 w 9210984"/>
                    <a:gd name="connsiteY28" fmla="*/ 53590 h 3373734"/>
                    <a:gd name="connsiteX29" fmla="*/ 5075251 w 9210984"/>
                    <a:gd name="connsiteY29" fmla="*/ 293077 h 3373734"/>
                    <a:gd name="connsiteX30" fmla="*/ 5978765 w 9210984"/>
                    <a:gd name="connsiteY30" fmla="*/ 521677 h 3373734"/>
                    <a:gd name="connsiteX31" fmla="*/ 6890652 w 9210984"/>
                    <a:gd name="connsiteY31" fmla="*/ 694174 h 3373734"/>
                    <a:gd name="connsiteX32" fmla="*/ 6621022 w 9210984"/>
                    <a:gd name="connsiteY32" fmla="*/ 761162 h 3373734"/>
                    <a:gd name="connsiteX33" fmla="*/ 5891679 w 9210984"/>
                    <a:gd name="connsiteY33" fmla="*/ 837362 h 3373734"/>
                    <a:gd name="connsiteX34" fmla="*/ 4988165 w 9210984"/>
                    <a:gd name="connsiteY34" fmla="*/ 924448 h 3373734"/>
                    <a:gd name="connsiteX35" fmla="*/ 3420622 w 9210984"/>
                    <a:gd name="connsiteY35" fmla="*/ 1055077 h 3373734"/>
                    <a:gd name="connsiteX36" fmla="*/ 3311765 w 9210984"/>
                    <a:gd name="connsiteY36" fmla="*/ 1261905 h 3373734"/>
                    <a:gd name="connsiteX37" fmla="*/ 5575993 w 9210984"/>
                    <a:gd name="connsiteY37" fmla="*/ 1817077 h 3373734"/>
                    <a:gd name="connsiteX38" fmla="*/ 5826365 w 9210984"/>
                    <a:gd name="connsiteY38" fmla="*/ 2154534 h 3373734"/>
                    <a:gd name="connsiteX39" fmla="*/ 4193508 w 9210984"/>
                    <a:gd name="connsiteY39" fmla="*/ 2361362 h 3373734"/>
                    <a:gd name="connsiteX40" fmla="*/ 1961936 w 9210984"/>
                    <a:gd name="connsiteY40" fmla="*/ 2426677 h 3373734"/>
                    <a:gd name="connsiteX41" fmla="*/ 78708 w 9210984"/>
                    <a:gd name="connsiteY41" fmla="*/ 2448448 h 3373734"/>
                    <a:gd name="connsiteX42" fmla="*/ 78708 w 9210984"/>
                    <a:gd name="connsiteY42" fmla="*/ 2698819 h 3373734"/>
                    <a:gd name="connsiteX43" fmla="*/ 46051 w 9210984"/>
                    <a:gd name="connsiteY43" fmla="*/ 3373734 h 3373734"/>
                    <a:gd name="connsiteX0" fmla="*/ 151384 w 9316317"/>
                    <a:gd name="connsiteY0" fmla="*/ 3373734 h 3373734"/>
                    <a:gd name="connsiteX1" fmla="*/ 891612 w 9316317"/>
                    <a:gd name="connsiteY1" fmla="*/ 3362848 h 3373734"/>
                    <a:gd name="connsiteX2" fmla="*/ 2546241 w 9316317"/>
                    <a:gd name="connsiteY2" fmla="*/ 3319305 h 3373734"/>
                    <a:gd name="connsiteX3" fmla="*/ 4102898 w 9316317"/>
                    <a:gd name="connsiteY3" fmla="*/ 3232219 h 3373734"/>
                    <a:gd name="connsiteX4" fmla="*/ 5583355 w 9316317"/>
                    <a:gd name="connsiteY4" fmla="*/ 3101591 h 3373734"/>
                    <a:gd name="connsiteX5" fmla="*/ 6312698 w 9316317"/>
                    <a:gd name="connsiteY5" fmla="*/ 2970962 h 3373734"/>
                    <a:gd name="connsiteX6" fmla="*/ 7063812 w 9316317"/>
                    <a:gd name="connsiteY6" fmla="*/ 2818562 h 3373734"/>
                    <a:gd name="connsiteX7" fmla="*/ 7608098 w 9316317"/>
                    <a:gd name="connsiteY7" fmla="*/ 2579077 h 3373734"/>
                    <a:gd name="connsiteX8" fmla="*/ 7912898 w 9316317"/>
                    <a:gd name="connsiteY8" fmla="*/ 2317819 h 3373734"/>
                    <a:gd name="connsiteX9" fmla="*/ 7934669 w 9316317"/>
                    <a:gd name="connsiteY9" fmla="*/ 2089219 h 3373734"/>
                    <a:gd name="connsiteX10" fmla="*/ 7858469 w 9316317"/>
                    <a:gd name="connsiteY10" fmla="*/ 1936820 h 3373734"/>
                    <a:gd name="connsiteX11" fmla="*/ 7629869 w 9316317"/>
                    <a:gd name="connsiteY11" fmla="*/ 1806191 h 3373734"/>
                    <a:gd name="connsiteX12" fmla="*/ 7183555 w 9316317"/>
                    <a:gd name="connsiteY12" fmla="*/ 1686448 h 3373734"/>
                    <a:gd name="connsiteX13" fmla="*/ 6465098 w 9316317"/>
                    <a:gd name="connsiteY13" fmla="*/ 1544934 h 3373734"/>
                    <a:gd name="connsiteX14" fmla="*/ 5822841 w 9316317"/>
                    <a:gd name="connsiteY14" fmla="*/ 1425191 h 3373734"/>
                    <a:gd name="connsiteX15" fmla="*/ 5572469 w 9316317"/>
                    <a:gd name="connsiteY15" fmla="*/ 1370762 h 3373734"/>
                    <a:gd name="connsiteX16" fmla="*/ 5322098 w 9316317"/>
                    <a:gd name="connsiteY16" fmla="*/ 1305448 h 3373734"/>
                    <a:gd name="connsiteX17" fmla="*/ 5343869 w 9316317"/>
                    <a:gd name="connsiteY17" fmla="*/ 1272791 h 3373734"/>
                    <a:gd name="connsiteX18" fmla="*/ 5855498 w 9316317"/>
                    <a:gd name="connsiteY18" fmla="*/ 1207477 h 3373734"/>
                    <a:gd name="connsiteX19" fmla="*/ 8174154 w 9316317"/>
                    <a:gd name="connsiteY19" fmla="*/ 935334 h 3373734"/>
                    <a:gd name="connsiteX20" fmla="*/ 7927970 w 9316317"/>
                    <a:gd name="connsiteY20" fmla="*/ 612112 h 3373734"/>
                    <a:gd name="connsiteX21" fmla="*/ 6632570 w 9316317"/>
                    <a:gd name="connsiteY21" fmla="*/ 360903 h 3373734"/>
                    <a:gd name="connsiteX22" fmla="*/ 6127641 w 9316317"/>
                    <a:gd name="connsiteY22" fmla="*/ 249534 h 3373734"/>
                    <a:gd name="connsiteX23" fmla="*/ 6759012 w 9316317"/>
                    <a:gd name="connsiteY23" fmla="*/ 260419 h 3373734"/>
                    <a:gd name="connsiteX24" fmla="*/ 9316317 w 9316317"/>
                    <a:gd name="connsiteY24" fmla="*/ 256232 h 3373734"/>
                    <a:gd name="connsiteX25" fmla="*/ 9315481 w 9316317"/>
                    <a:gd name="connsiteY25" fmla="*/ 0 h 3373734"/>
                    <a:gd name="connsiteX26" fmla="*/ 6965841 w 9316317"/>
                    <a:gd name="connsiteY26" fmla="*/ 10048 h 3373734"/>
                    <a:gd name="connsiteX27" fmla="*/ 6018784 w 9316317"/>
                    <a:gd name="connsiteY27" fmla="*/ 20934 h 3373734"/>
                    <a:gd name="connsiteX28" fmla="*/ 5224126 w 9316317"/>
                    <a:gd name="connsiteY28" fmla="*/ 53590 h 3373734"/>
                    <a:gd name="connsiteX29" fmla="*/ 5180584 w 9316317"/>
                    <a:gd name="connsiteY29" fmla="*/ 293077 h 3373734"/>
                    <a:gd name="connsiteX30" fmla="*/ 6084098 w 9316317"/>
                    <a:gd name="connsiteY30" fmla="*/ 521677 h 3373734"/>
                    <a:gd name="connsiteX31" fmla="*/ 6995985 w 9316317"/>
                    <a:gd name="connsiteY31" fmla="*/ 694174 h 3373734"/>
                    <a:gd name="connsiteX32" fmla="*/ 6726355 w 9316317"/>
                    <a:gd name="connsiteY32" fmla="*/ 761162 h 3373734"/>
                    <a:gd name="connsiteX33" fmla="*/ 5997012 w 9316317"/>
                    <a:gd name="connsiteY33" fmla="*/ 837362 h 3373734"/>
                    <a:gd name="connsiteX34" fmla="*/ 5093498 w 9316317"/>
                    <a:gd name="connsiteY34" fmla="*/ 924448 h 3373734"/>
                    <a:gd name="connsiteX35" fmla="*/ 3525955 w 9316317"/>
                    <a:gd name="connsiteY35" fmla="*/ 1055077 h 3373734"/>
                    <a:gd name="connsiteX36" fmla="*/ 3417098 w 9316317"/>
                    <a:gd name="connsiteY36" fmla="*/ 1261905 h 3373734"/>
                    <a:gd name="connsiteX37" fmla="*/ 5681326 w 9316317"/>
                    <a:gd name="connsiteY37" fmla="*/ 1817077 h 3373734"/>
                    <a:gd name="connsiteX38" fmla="*/ 5931698 w 9316317"/>
                    <a:gd name="connsiteY38" fmla="*/ 2154534 h 3373734"/>
                    <a:gd name="connsiteX39" fmla="*/ 4298841 w 9316317"/>
                    <a:gd name="connsiteY39" fmla="*/ 2361362 h 3373734"/>
                    <a:gd name="connsiteX40" fmla="*/ 2067269 w 9316317"/>
                    <a:gd name="connsiteY40" fmla="*/ 2426677 h 3373734"/>
                    <a:gd name="connsiteX41" fmla="*/ 184041 w 9316317"/>
                    <a:gd name="connsiteY41" fmla="*/ 2448448 h 3373734"/>
                    <a:gd name="connsiteX42" fmla="*/ 151384 w 9316317"/>
                    <a:gd name="connsiteY42" fmla="*/ 3373734 h 3373734"/>
                    <a:gd name="connsiteX0" fmla="*/ 48039 w 9212972"/>
                    <a:gd name="connsiteY0" fmla="*/ 3373734 h 3373734"/>
                    <a:gd name="connsiteX1" fmla="*/ 788267 w 9212972"/>
                    <a:gd name="connsiteY1" fmla="*/ 3362848 h 3373734"/>
                    <a:gd name="connsiteX2" fmla="*/ 2442896 w 9212972"/>
                    <a:gd name="connsiteY2" fmla="*/ 3319305 h 3373734"/>
                    <a:gd name="connsiteX3" fmla="*/ 3999553 w 9212972"/>
                    <a:gd name="connsiteY3" fmla="*/ 3232219 h 3373734"/>
                    <a:gd name="connsiteX4" fmla="*/ 5480010 w 9212972"/>
                    <a:gd name="connsiteY4" fmla="*/ 3101591 h 3373734"/>
                    <a:gd name="connsiteX5" fmla="*/ 6209353 w 9212972"/>
                    <a:gd name="connsiteY5" fmla="*/ 2970962 h 3373734"/>
                    <a:gd name="connsiteX6" fmla="*/ 6960467 w 9212972"/>
                    <a:gd name="connsiteY6" fmla="*/ 2818562 h 3373734"/>
                    <a:gd name="connsiteX7" fmla="*/ 7504753 w 9212972"/>
                    <a:gd name="connsiteY7" fmla="*/ 2579077 h 3373734"/>
                    <a:gd name="connsiteX8" fmla="*/ 7809553 w 9212972"/>
                    <a:gd name="connsiteY8" fmla="*/ 2317819 h 3373734"/>
                    <a:gd name="connsiteX9" fmla="*/ 7831324 w 9212972"/>
                    <a:gd name="connsiteY9" fmla="*/ 2089219 h 3373734"/>
                    <a:gd name="connsiteX10" fmla="*/ 7755124 w 9212972"/>
                    <a:gd name="connsiteY10" fmla="*/ 1936820 h 3373734"/>
                    <a:gd name="connsiteX11" fmla="*/ 7526524 w 9212972"/>
                    <a:gd name="connsiteY11" fmla="*/ 1806191 h 3373734"/>
                    <a:gd name="connsiteX12" fmla="*/ 7080210 w 9212972"/>
                    <a:gd name="connsiteY12" fmla="*/ 1686448 h 3373734"/>
                    <a:gd name="connsiteX13" fmla="*/ 6361753 w 9212972"/>
                    <a:gd name="connsiteY13" fmla="*/ 1544934 h 3373734"/>
                    <a:gd name="connsiteX14" fmla="*/ 5719496 w 9212972"/>
                    <a:gd name="connsiteY14" fmla="*/ 1425191 h 3373734"/>
                    <a:gd name="connsiteX15" fmla="*/ 5469124 w 9212972"/>
                    <a:gd name="connsiteY15" fmla="*/ 1370762 h 3373734"/>
                    <a:gd name="connsiteX16" fmla="*/ 5218753 w 9212972"/>
                    <a:gd name="connsiteY16" fmla="*/ 1305448 h 3373734"/>
                    <a:gd name="connsiteX17" fmla="*/ 5240524 w 9212972"/>
                    <a:gd name="connsiteY17" fmla="*/ 1272791 h 3373734"/>
                    <a:gd name="connsiteX18" fmla="*/ 5752153 w 9212972"/>
                    <a:gd name="connsiteY18" fmla="*/ 1207477 h 3373734"/>
                    <a:gd name="connsiteX19" fmla="*/ 8070809 w 9212972"/>
                    <a:gd name="connsiteY19" fmla="*/ 935334 h 3373734"/>
                    <a:gd name="connsiteX20" fmla="*/ 7824625 w 9212972"/>
                    <a:gd name="connsiteY20" fmla="*/ 612112 h 3373734"/>
                    <a:gd name="connsiteX21" fmla="*/ 6529225 w 9212972"/>
                    <a:gd name="connsiteY21" fmla="*/ 360903 h 3373734"/>
                    <a:gd name="connsiteX22" fmla="*/ 6024296 w 9212972"/>
                    <a:gd name="connsiteY22" fmla="*/ 249534 h 3373734"/>
                    <a:gd name="connsiteX23" fmla="*/ 6655667 w 9212972"/>
                    <a:gd name="connsiteY23" fmla="*/ 260419 h 3373734"/>
                    <a:gd name="connsiteX24" fmla="*/ 9212972 w 9212972"/>
                    <a:gd name="connsiteY24" fmla="*/ 256232 h 3373734"/>
                    <a:gd name="connsiteX25" fmla="*/ 9212136 w 9212972"/>
                    <a:gd name="connsiteY25" fmla="*/ 0 h 3373734"/>
                    <a:gd name="connsiteX26" fmla="*/ 6862496 w 9212972"/>
                    <a:gd name="connsiteY26" fmla="*/ 10048 h 3373734"/>
                    <a:gd name="connsiteX27" fmla="*/ 5915439 w 9212972"/>
                    <a:gd name="connsiteY27" fmla="*/ 20934 h 3373734"/>
                    <a:gd name="connsiteX28" fmla="*/ 5120781 w 9212972"/>
                    <a:gd name="connsiteY28" fmla="*/ 53590 h 3373734"/>
                    <a:gd name="connsiteX29" fmla="*/ 5077239 w 9212972"/>
                    <a:gd name="connsiteY29" fmla="*/ 293077 h 3373734"/>
                    <a:gd name="connsiteX30" fmla="*/ 5980753 w 9212972"/>
                    <a:gd name="connsiteY30" fmla="*/ 521677 h 3373734"/>
                    <a:gd name="connsiteX31" fmla="*/ 6892640 w 9212972"/>
                    <a:gd name="connsiteY31" fmla="*/ 694174 h 3373734"/>
                    <a:gd name="connsiteX32" fmla="*/ 6623010 w 9212972"/>
                    <a:gd name="connsiteY32" fmla="*/ 761162 h 3373734"/>
                    <a:gd name="connsiteX33" fmla="*/ 5893667 w 9212972"/>
                    <a:gd name="connsiteY33" fmla="*/ 837362 h 3373734"/>
                    <a:gd name="connsiteX34" fmla="*/ 4990153 w 9212972"/>
                    <a:gd name="connsiteY34" fmla="*/ 924448 h 3373734"/>
                    <a:gd name="connsiteX35" fmla="*/ 3422610 w 9212972"/>
                    <a:gd name="connsiteY35" fmla="*/ 1055077 h 3373734"/>
                    <a:gd name="connsiteX36" fmla="*/ 3313753 w 9212972"/>
                    <a:gd name="connsiteY36" fmla="*/ 1261905 h 3373734"/>
                    <a:gd name="connsiteX37" fmla="*/ 5577981 w 9212972"/>
                    <a:gd name="connsiteY37" fmla="*/ 1817077 h 3373734"/>
                    <a:gd name="connsiteX38" fmla="*/ 5828353 w 9212972"/>
                    <a:gd name="connsiteY38" fmla="*/ 2154534 h 3373734"/>
                    <a:gd name="connsiteX39" fmla="*/ 4195496 w 9212972"/>
                    <a:gd name="connsiteY39" fmla="*/ 2361362 h 3373734"/>
                    <a:gd name="connsiteX40" fmla="*/ 1963924 w 9212972"/>
                    <a:gd name="connsiteY40" fmla="*/ 2426677 h 3373734"/>
                    <a:gd name="connsiteX41" fmla="*/ 80696 w 9212972"/>
                    <a:gd name="connsiteY41" fmla="*/ 2448448 h 3373734"/>
                    <a:gd name="connsiteX42" fmla="*/ 48039 w 9212972"/>
                    <a:gd name="connsiteY4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4147457 w 9164933"/>
                    <a:gd name="connsiteY39" fmla="*/ 2361362 h 3373734"/>
                    <a:gd name="connsiteX40" fmla="*/ 1915885 w 9164933"/>
                    <a:gd name="connsiteY40" fmla="*/ 2426677 h 3373734"/>
                    <a:gd name="connsiteX41" fmla="*/ 32657 w 9164933"/>
                    <a:gd name="connsiteY41" fmla="*/ 2448448 h 3373734"/>
                    <a:gd name="connsiteX42" fmla="*/ 0 w 9164933"/>
                    <a:gd name="connsiteY4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4147457 w 9164933"/>
                    <a:gd name="connsiteY39" fmla="*/ 2361362 h 3373734"/>
                    <a:gd name="connsiteX40" fmla="*/ 1915885 w 9164933"/>
                    <a:gd name="connsiteY40" fmla="*/ 2426677 h 3373734"/>
                    <a:gd name="connsiteX41" fmla="*/ 32657 w 9164933"/>
                    <a:gd name="connsiteY41" fmla="*/ 2448448 h 3373734"/>
                    <a:gd name="connsiteX42" fmla="*/ 0 w 9164933"/>
                    <a:gd name="connsiteY4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4147457 w 9164933"/>
                    <a:gd name="connsiteY39" fmla="*/ 2361362 h 3373734"/>
                    <a:gd name="connsiteX40" fmla="*/ 1915885 w 9164933"/>
                    <a:gd name="connsiteY40" fmla="*/ 2426677 h 3373734"/>
                    <a:gd name="connsiteX41" fmla="*/ 21772 w 9164933"/>
                    <a:gd name="connsiteY41" fmla="*/ 2448448 h 3373734"/>
                    <a:gd name="connsiteX42" fmla="*/ 0 w 9164933"/>
                    <a:gd name="connsiteY4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4147457 w 9164933"/>
                    <a:gd name="connsiteY39" fmla="*/ 2361362 h 3373734"/>
                    <a:gd name="connsiteX40" fmla="*/ 1915885 w 9164933"/>
                    <a:gd name="connsiteY40" fmla="*/ 2426677 h 3373734"/>
                    <a:gd name="connsiteX41" fmla="*/ 21772 w 9164933"/>
                    <a:gd name="connsiteY41" fmla="*/ 2448448 h 3373734"/>
                    <a:gd name="connsiteX42" fmla="*/ 0 w 9164933"/>
                    <a:gd name="connsiteY4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4147457 w 9164933"/>
                    <a:gd name="connsiteY39" fmla="*/ 2361362 h 3373734"/>
                    <a:gd name="connsiteX40" fmla="*/ 1915885 w 9164933"/>
                    <a:gd name="connsiteY40" fmla="*/ 2426677 h 3373734"/>
                    <a:gd name="connsiteX41" fmla="*/ 21772 w 9164933"/>
                    <a:gd name="connsiteY41" fmla="*/ 2448448 h 3373734"/>
                    <a:gd name="connsiteX42" fmla="*/ 0 w 9164933"/>
                    <a:gd name="connsiteY42" fmla="*/ 3373734 h 3373734"/>
                    <a:gd name="connsiteX0" fmla="*/ 0 w 9164933"/>
                    <a:gd name="connsiteY0" fmla="*/ 3373734 h 3373734"/>
                    <a:gd name="connsiteX1" fmla="*/ 740228 w 9164933"/>
                    <a:gd name="connsiteY1" fmla="*/ 3362848 h 3373734"/>
                    <a:gd name="connsiteX2" fmla="*/ 2394857 w 9164933"/>
                    <a:gd name="connsiteY2" fmla="*/ 3319305 h 3373734"/>
                    <a:gd name="connsiteX3" fmla="*/ 3951514 w 9164933"/>
                    <a:gd name="connsiteY3" fmla="*/ 3232219 h 3373734"/>
                    <a:gd name="connsiteX4" fmla="*/ 5431971 w 9164933"/>
                    <a:gd name="connsiteY4" fmla="*/ 3101591 h 3373734"/>
                    <a:gd name="connsiteX5" fmla="*/ 6161314 w 9164933"/>
                    <a:gd name="connsiteY5" fmla="*/ 2970962 h 3373734"/>
                    <a:gd name="connsiteX6" fmla="*/ 6912428 w 9164933"/>
                    <a:gd name="connsiteY6" fmla="*/ 2818562 h 3373734"/>
                    <a:gd name="connsiteX7" fmla="*/ 7456714 w 9164933"/>
                    <a:gd name="connsiteY7" fmla="*/ 2579077 h 3373734"/>
                    <a:gd name="connsiteX8" fmla="*/ 7761514 w 9164933"/>
                    <a:gd name="connsiteY8" fmla="*/ 2317819 h 3373734"/>
                    <a:gd name="connsiteX9" fmla="*/ 7783285 w 9164933"/>
                    <a:gd name="connsiteY9" fmla="*/ 2089219 h 3373734"/>
                    <a:gd name="connsiteX10" fmla="*/ 7707085 w 9164933"/>
                    <a:gd name="connsiteY10" fmla="*/ 1936820 h 3373734"/>
                    <a:gd name="connsiteX11" fmla="*/ 7478485 w 9164933"/>
                    <a:gd name="connsiteY11" fmla="*/ 1806191 h 3373734"/>
                    <a:gd name="connsiteX12" fmla="*/ 7032171 w 9164933"/>
                    <a:gd name="connsiteY12" fmla="*/ 1686448 h 3373734"/>
                    <a:gd name="connsiteX13" fmla="*/ 6313714 w 9164933"/>
                    <a:gd name="connsiteY13" fmla="*/ 1544934 h 3373734"/>
                    <a:gd name="connsiteX14" fmla="*/ 5671457 w 9164933"/>
                    <a:gd name="connsiteY14" fmla="*/ 1425191 h 3373734"/>
                    <a:gd name="connsiteX15" fmla="*/ 5421085 w 9164933"/>
                    <a:gd name="connsiteY15" fmla="*/ 1370762 h 3373734"/>
                    <a:gd name="connsiteX16" fmla="*/ 5170714 w 9164933"/>
                    <a:gd name="connsiteY16" fmla="*/ 1305448 h 3373734"/>
                    <a:gd name="connsiteX17" fmla="*/ 5192485 w 9164933"/>
                    <a:gd name="connsiteY17" fmla="*/ 1272791 h 3373734"/>
                    <a:gd name="connsiteX18" fmla="*/ 5704114 w 9164933"/>
                    <a:gd name="connsiteY18" fmla="*/ 1207477 h 3373734"/>
                    <a:gd name="connsiteX19" fmla="*/ 8022770 w 9164933"/>
                    <a:gd name="connsiteY19" fmla="*/ 935334 h 3373734"/>
                    <a:gd name="connsiteX20" fmla="*/ 7776586 w 9164933"/>
                    <a:gd name="connsiteY20" fmla="*/ 612112 h 3373734"/>
                    <a:gd name="connsiteX21" fmla="*/ 6481186 w 9164933"/>
                    <a:gd name="connsiteY21" fmla="*/ 360903 h 3373734"/>
                    <a:gd name="connsiteX22" fmla="*/ 5976257 w 9164933"/>
                    <a:gd name="connsiteY22" fmla="*/ 249534 h 3373734"/>
                    <a:gd name="connsiteX23" fmla="*/ 6607628 w 9164933"/>
                    <a:gd name="connsiteY23" fmla="*/ 260419 h 3373734"/>
                    <a:gd name="connsiteX24" fmla="*/ 9164933 w 9164933"/>
                    <a:gd name="connsiteY24" fmla="*/ 256232 h 3373734"/>
                    <a:gd name="connsiteX25" fmla="*/ 9164097 w 9164933"/>
                    <a:gd name="connsiteY25" fmla="*/ 0 h 3373734"/>
                    <a:gd name="connsiteX26" fmla="*/ 6814457 w 9164933"/>
                    <a:gd name="connsiteY26" fmla="*/ 10048 h 3373734"/>
                    <a:gd name="connsiteX27" fmla="*/ 5867400 w 9164933"/>
                    <a:gd name="connsiteY27" fmla="*/ 20934 h 3373734"/>
                    <a:gd name="connsiteX28" fmla="*/ 5072742 w 9164933"/>
                    <a:gd name="connsiteY28" fmla="*/ 53590 h 3373734"/>
                    <a:gd name="connsiteX29" fmla="*/ 5029200 w 9164933"/>
                    <a:gd name="connsiteY29" fmla="*/ 293077 h 3373734"/>
                    <a:gd name="connsiteX30" fmla="*/ 5932714 w 9164933"/>
                    <a:gd name="connsiteY30" fmla="*/ 521677 h 3373734"/>
                    <a:gd name="connsiteX31" fmla="*/ 6844601 w 9164933"/>
                    <a:gd name="connsiteY31" fmla="*/ 694174 h 3373734"/>
                    <a:gd name="connsiteX32" fmla="*/ 6574971 w 9164933"/>
                    <a:gd name="connsiteY32" fmla="*/ 761162 h 3373734"/>
                    <a:gd name="connsiteX33" fmla="*/ 5845628 w 9164933"/>
                    <a:gd name="connsiteY33" fmla="*/ 837362 h 3373734"/>
                    <a:gd name="connsiteX34" fmla="*/ 4942114 w 9164933"/>
                    <a:gd name="connsiteY34" fmla="*/ 924448 h 3373734"/>
                    <a:gd name="connsiteX35" fmla="*/ 3374571 w 9164933"/>
                    <a:gd name="connsiteY35" fmla="*/ 1055077 h 3373734"/>
                    <a:gd name="connsiteX36" fmla="*/ 3265714 w 9164933"/>
                    <a:gd name="connsiteY36" fmla="*/ 1261905 h 3373734"/>
                    <a:gd name="connsiteX37" fmla="*/ 5529942 w 9164933"/>
                    <a:gd name="connsiteY37" fmla="*/ 1817077 h 3373734"/>
                    <a:gd name="connsiteX38" fmla="*/ 5780314 w 9164933"/>
                    <a:gd name="connsiteY38" fmla="*/ 2154534 h 3373734"/>
                    <a:gd name="connsiteX39" fmla="*/ 4147457 w 9164933"/>
                    <a:gd name="connsiteY39" fmla="*/ 2361362 h 3373734"/>
                    <a:gd name="connsiteX40" fmla="*/ 1915885 w 9164933"/>
                    <a:gd name="connsiteY40" fmla="*/ 2426677 h 3373734"/>
                    <a:gd name="connsiteX41" fmla="*/ 21772 w 9164933"/>
                    <a:gd name="connsiteY41" fmla="*/ 2448448 h 3373734"/>
                    <a:gd name="connsiteX42" fmla="*/ 0 w 9164933"/>
                    <a:gd name="connsiteY42" fmla="*/ 3373734 h 3373734"/>
                    <a:gd name="connsiteX0" fmla="*/ 0 w 9143161"/>
                    <a:gd name="connsiteY0" fmla="*/ 3373734 h 3373734"/>
                    <a:gd name="connsiteX1" fmla="*/ 718456 w 9143161"/>
                    <a:gd name="connsiteY1" fmla="*/ 3362848 h 3373734"/>
                    <a:gd name="connsiteX2" fmla="*/ 2373085 w 9143161"/>
                    <a:gd name="connsiteY2" fmla="*/ 3319305 h 3373734"/>
                    <a:gd name="connsiteX3" fmla="*/ 3929742 w 9143161"/>
                    <a:gd name="connsiteY3" fmla="*/ 3232219 h 3373734"/>
                    <a:gd name="connsiteX4" fmla="*/ 5410199 w 9143161"/>
                    <a:gd name="connsiteY4" fmla="*/ 3101591 h 3373734"/>
                    <a:gd name="connsiteX5" fmla="*/ 6139542 w 9143161"/>
                    <a:gd name="connsiteY5" fmla="*/ 2970962 h 3373734"/>
                    <a:gd name="connsiteX6" fmla="*/ 6890656 w 9143161"/>
                    <a:gd name="connsiteY6" fmla="*/ 2818562 h 3373734"/>
                    <a:gd name="connsiteX7" fmla="*/ 7434942 w 9143161"/>
                    <a:gd name="connsiteY7" fmla="*/ 2579077 h 3373734"/>
                    <a:gd name="connsiteX8" fmla="*/ 7739742 w 9143161"/>
                    <a:gd name="connsiteY8" fmla="*/ 2317819 h 3373734"/>
                    <a:gd name="connsiteX9" fmla="*/ 7761513 w 9143161"/>
                    <a:gd name="connsiteY9" fmla="*/ 2089219 h 3373734"/>
                    <a:gd name="connsiteX10" fmla="*/ 7685313 w 9143161"/>
                    <a:gd name="connsiteY10" fmla="*/ 1936820 h 3373734"/>
                    <a:gd name="connsiteX11" fmla="*/ 7456713 w 9143161"/>
                    <a:gd name="connsiteY11" fmla="*/ 1806191 h 3373734"/>
                    <a:gd name="connsiteX12" fmla="*/ 7010399 w 9143161"/>
                    <a:gd name="connsiteY12" fmla="*/ 1686448 h 3373734"/>
                    <a:gd name="connsiteX13" fmla="*/ 6291942 w 9143161"/>
                    <a:gd name="connsiteY13" fmla="*/ 1544934 h 3373734"/>
                    <a:gd name="connsiteX14" fmla="*/ 5649685 w 9143161"/>
                    <a:gd name="connsiteY14" fmla="*/ 1425191 h 3373734"/>
                    <a:gd name="connsiteX15" fmla="*/ 5399313 w 9143161"/>
                    <a:gd name="connsiteY15" fmla="*/ 1370762 h 3373734"/>
                    <a:gd name="connsiteX16" fmla="*/ 5148942 w 9143161"/>
                    <a:gd name="connsiteY16" fmla="*/ 1305448 h 3373734"/>
                    <a:gd name="connsiteX17" fmla="*/ 5170713 w 9143161"/>
                    <a:gd name="connsiteY17" fmla="*/ 1272791 h 3373734"/>
                    <a:gd name="connsiteX18" fmla="*/ 5682342 w 9143161"/>
                    <a:gd name="connsiteY18" fmla="*/ 1207477 h 3373734"/>
                    <a:gd name="connsiteX19" fmla="*/ 8000998 w 9143161"/>
                    <a:gd name="connsiteY19" fmla="*/ 935334 h 3373734"/>
                    <a:gd name="connsiteX20" fmla="*/ 7754814 w 9143161"/>
                    <a:gd name="connsiteY20" fmla="*/ 612112 h 3373734"/>
                    <a:gd name="connsiteX21" fmla="*/ 6459414 w 9143161"/>
                    <a:gd name="connsiteY21" fmla="*/ 360903 h 3373734"/>
                    <a:gd name="connsiteX22" fmla="*/ 5954485 w 9143161"/>
                    <a:gd name="connsiteY22" fmla="*/ 249534 h 3373734"/>
                    <a:gd name="connsiteX23" fmla="*/ 6585856 w 9143161"/>
                    <a:gd name="connsiteY23" fmla="*/ 260419 h 3373734"/>
                    <a:gd name="connsiteX24" fmla="*/ 9143161 w 9143161"/>
                    <a:gd name="connsiteY24" fmla="*/ 256232 h 3373734"/>
                    <a:gd name="connsiteX25" fmla="*/ 9142325 w 9143161"/>
                    <a:gd name="connsiteY25" fmla="*/ 0 h 3373734"/>
                    <a:gd name="connsiteX26" fmla="*/ 6792685 w 9143161"/>
                    <a:gd name="connsiteY26" fmla="*/ 10048 h 3373734"/>
                    <a:gd name="connsiteX27" fmla="*/ 5845628 w 9143161"/>
                    <a:gd name="connsiteY27" fmla="*/ 20934 h 3373734"/>
                    <a:gd name="connsiteX28" fmla="*/ 5050970 w 9143161"/>
                    <a:gd name="connsiteY28" fmla="*/ 53590 h 3373734"/>
                    <a:gd name="connsiteX29" fmla="*/ 5007428 w 9143161"/>
                    <a:gd name="connsiteY29" fmla="*/ 293077 h 3373734"/>
                    <a:gd name="connsiteX30" fmla="*/ 5910942 w 9143161"/>
                    <a:gd name="connsiteY30" fmla="*/ 521677 h 3373734"/>
                    <a:gd name="connsiteX31" fmla="*/ 6822829 w 9143161"/>
                    <a:gd name="connsiteY31" fmla="*/ 694174 h 3373734"/>
                    <a:gd name="connsiteX32" fmla="*/ 6553199 w 9143161"/>
                    <a:gd name="connsiteY32" fmla="*/ 761162 h 3373734"/>
                    <a:gd name="connsiteX33" fmla="*/ 5823856 w 9143161"/>
                    <a:gd name="connsiteY33" fmla="*/ 837362 h 3373734"/>
                    <a:gd name="connsiteX34" fmla="*/ 4920342 w 9143161"/>
                    <a:gd name="connsiteY34" fmla="*/ 924448 h 3373734"/>
                    <a:gd name="connsiteX35" fmla="*/ 3352799 w 9143161"/>
                    <a:gd name="connsiteY35" fmla="*/ 1055077 h 3373734"/>
                    <a:gd name="connsiteX36" fmla="*/ 3243942 w 9143161"/>
                    <a:gd name="connsiteY36" fmla="*/ 1261905 h 3373734"/>
                    <a:gd name="connsiteX37" fmla="*/ 5508170 w 9143161"/>
                    <a:gd name="connsiteY37" fmla="*/ 1817077 h 3373734"/>
                    <a:gd name="connsiteX38" fmla="*/ 5758542 w 9143161"/>
                    <a:gd name="connsiteY38" fmla="*/ 2154534 h 3373734"/>
                    <a:gd name="connsiteX39" fmla="*/ 4125685 w 9143161"/>
                    <a:gd name="connsiteY39" fmla="*/ 2361362 h 3373734"/>
                    <a:gd name="connsiteX40" fmla="*/ 1894113 w 9143161"/>
                    <a:gd name="connsiteY40" fmla="*/ 2426677 h 3373734"/>
                    <a:gd name="connsiteX41" fmla="*/ 0 w 9143161"/>
                    <a:gd name="connsiteY41" fmla="*/ 2448448 h 3373734"/>
                    <a:gd name="connsiteX42" fmla="*/ 0 w 9143161"/>
                    <a:gd name="connsiteY42"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5410199 w 9143161"/>
                    <a:gd name="connsiteY3" fmla="*/ 3101591 h 3373734"/>
                    <a:gd name="connsiteX4" fmla="*/ 6139542 w 9143161"/>
                    <a:gd name="connsiteY4" fmla="*/ 2970962 h 3373734"/>
                    <a:gd name="connsiteX5" fmla="*/ 6890656 w 9143161"/>
                    <a:gd name="connsiteY5" fmla="*/ 2818562 h 3373734"/>
                    <a:gd name="connsiteX6" fmla="*/ 7434942 w 9143161"/>
                    <a:gd name="connsiteY6" fmla="*/ 2579077 h 3373734"/>
                    <a:gd name="connsiteX7" fmla="*/ 7739742 w 9143161"/>
                    <a:gd name="connsiteY7" fmla="*/ 2317819 h 3373734"/>
                    <a:gd name="connsiteX8" fmla="*/ 7761513 w 9143161"/>
                    <a:gd name="connsiteY8" fmla="*/ 2089219 h 3373734"/>
                    <a:gd name="connsiteX9" fmla="*/ 7685313 w 9143161"/>
                    <a:gd name="connsiteY9" fmla="*/ 1936820 h 3373734"/>
                    <a:gd name="connsiteX10" fmla="*/ 7456713 w 9143161"/>
                    <a:gd name="connsiteY10" fmla="*/ 1806191 h 3373734"/>
                    <a:gd name="connsiteX11" fmla="*/ 7010399 w 9143161"/>
                    <a:gd name="connsiteY11" fmla="*/ 1686448 h 3373734"/>
                    <a:gd name="connsiteX12" fmla="*/ 6291942 w 9143161"/>
                    <a:gd name="connsiteY12" fmla="*/ 1544934 h 3373734"/>
                    <a:gd name="connsiteX13" fmla="*/ 5649685 w 9143161"/>
                    <a:gd name="connsiteY13" fmla="*/ 1425191 h 3373734"/>
                    <a:gd name="connsiteX14" fmla="*/ 5399313 w 9143161"/>
                    <a:gd name="connsiteY14" fmla="*/ 1370762 h 3373734"/>
                    <a:gd name="connsiteX15" fmla="*/ 5148942 w 9143161"/>
                    <a:gd name="connsiteY15" fmla="*/ 1305448 h 3373734"/>
                    <a:gd name="connsiteX16" fmla="*/ 5170713 w 9143161"/>
                    <a:gd name="connsiteY16" fmla="*/ 1272791 h 3373734"/>
                    <a:gd name="connsiteX17" fmla="*/ 5682342 w 9143161"/>
                    <a:gd name="connsiteY17" fmla="*/ 1207477 h 3373734"/>
                    <a:gd name="connsiteX18" fmla="*/ 8000998 w 9143161"/>
                    <a:gd name="connsiteY18" fmla="*/ 935334 h 3373734"/>
                    <a:gd name="connsiteX19" fmla="*/ 7754814 w 9143161"/>
                    <a:gd name="connsiteY19" fmla="*/ 612112 h 3373734"/>
                    <a:gd name="connsiteX20" fmla="*/ 6459414 w 9143161"/>
                    <a:gd name="connsiteY20" fmla="*/ 360903 h 3373734"/>
                    <a:gd name="connsiteX21" fmla="*/ 5954485 w 9143161"/>
                    <a:gd name="connsiteY21" fmla="*/ 249534 h 3373734"/>
                    <a:gd name="connsiteX22" fmla="*/ 6585856 w 9143161"/>
                    <a:gd name="connsiteY22" fmla="*/ 260419 h 3373734"/>
                    <a:gd name="connsiteX23" fmla="*/ 9143161 w 9143161"/>
                    <a:gd name="connsiteY23" fmla="*/ 256232 h 3373734"/>
                    <a:gd name="connsiteX24" fmla="*/ 9142325 w 9143161"/>
                    <a:gd name="connsiteY24" fmla="*/ 0 h 3373734"/>
                    <a:gd name="connsiteX25" fmla="*/ 6792685 w 9143161"/>
                    <a:gd name="connsiteY25" fmla="*/ 10048 h 3373734"/>
                    <a:gd name="connsiteX26" fmla="*/ 5845628 w 9143161"/>
                    <a:gd name="connsiteY26" fmla="*/ 20934 h 3373734"/>
                    <a:gd name="connsiteX27" fmla="*/ 5050970 w 9143161"/>
                    <a:gd name="connsiteY27" fmla="*/ 53590 h 3373734"/>
                    <a:gd name="connsiteX28" fmla="*/ 5007428 w 9143161"/>
                    <a:gd name="connsiteY28" fmla="*/ 293077 h 3373734"/>
                    <a:gd name="connsiteX29" fmla="*/ 5910942 w 9143161"/>
                    <a:gd name="connsiteY29" fmla="*/ 521677 h 3373734"/>
                    <a:gd name="connsiteX30" fmla="*/ 6822829 w 9143161"/>
                    <a:gd name="connsiteY30" fmla="*/ 694174 h 3373734"/>
                    <a:gd name="connsiteX31" fmla="*/ 6553199 w 9143161"/>
                    <a:gd name="connsiteY31" fmla="*/ 761162 h 3373734"/>
                    <a:gd name="connsiteX32" fmla="*/ 5823856 w 9143161"/>
                    <a:gd name="connsiteY32" fmla="*/ 837362 h 3373734"/>
                    <a:gd name="connsiteX33" fmla="*/ 4920342 w 9143161"/>
                    <a:gd name="connsiteY33" fmla="*/ 924448 h 3373734"/>
                    <a:gd name="connsiteX34" fmla="*/ 3352799 w 9143161"/>
                    <a:gd name="connsiteY34" fmla="*/ 1055077 h 3373734"/>
                    <a:gd name="connsiteX35" fmla="*/ 3243942 w 9143161"/>
                    <a:gd name="connsiteY35" fmla="*/ 1261905 h 3373734"/>
                    <a:gd name="connsiteX36" fmla="*/ 5508170 w 9143161"/>
                    <a:gd name="connsiteY36" fmla="*/ 1817077 h 3373734"/>
                    <a:gd name="connsiteX37" fmla="*/ 5758542 w 9143161"/>
                    <a:gd name="connsiteY37" fmla="*/ 2154534 h 3373734"/>
                    <a:gd name="connsiteX38" fmla="*/ 4125685 w 9143161"/>
                    <a:gd name="connsiteY38" fmla="*/ 2361362 h 3373734"/>
                    <a:gd name="connsiteX39" fmla="*/ 1894113 w 9143161"/>
                    <a:gd name="connsiteY39" fmla="*/ 2426677 h 3373734"/>
                    <a:gd name="connsiteX40" fmla="*/ 0 w 9143161"/>
                    <a:gd name="connsiteY40" fmla="*/ 2448448 h 3373734"/>
                    <a:gd name="connsiteX41" fmla="*/ 0 w 9143161"/>
                    <a:gd name="connsiteY41"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5410199 w 9143161"/>
                    <a:gd name="connsiteY3" fmla="*/ 3101591 h 3373734"/>
                    <a:gd name="connsiteX4" fmla="*/ 6890656 w 9143161"/>
                    <a:gd name="connsiteY4" fmla="*/ 2818562 h 3373734"/>
                    <a:gd name="connsiteX5" fmla="*/ 7434942 w 9143161"/>
                    <a:gd name="connsiteY5" fmla="*/ 2579077 h 3373734"/>
                    <a:gd name="connsiteX6" fmla="*/ 7739742 w 9143161"/>
                    <a:gd name="connsiteY6" fmla="*/ 2317819 h 3373734"/>
                    <a:gd name="connsiteX7" fmla="*/ 7761513 w 9143161"/>
                    <a:gd name="connsiteY7" fmla="*/ 2089219 h 3373734"/>
                    <a:gd name="connsiteX8" fmla="*/ 7685313 w 9143161"/>
                    <a:gd name="connsiteY8" fmla="*/ 1936820 h 3373734"/>
                    <a:gd name="connsiteX9" fmla="*/ 7456713 w 9143161"/>
                    <a:gd name="connsiteY9" fmla="*/ 1806191 h 3373734"/>
                    <a:gd name="connsiteX10" fmla="*/ 7010399 w 9143161"/>
                    <a:gd name="connsiteY10" fmla="*/ 1686448 h 3373734"/>
                    <a:gd name="connsiteX11" fmla="*/ 6291942 w 9143161"/>
                    <a:gd name="connsiteY11" fmla="*/ 1544934 h 3373734"/>
                    <a:gd name="connsiteX12" fmla="*/ 5649685 w 9143161"/>
                    <a:gd name="connsiteY12" fmla="*/ 1425191 h 3373734"/>
                    <a:gd name="connsiteX13" fmla="*/ 5399313 w 9143161"/>
                    <a:gd name="connsiteY13" fmla="*/ 1370762 h 3373734"/>
                    <a:gd name="connsiteX14" fmla="*/ 5148942 w 9143161"/>
                    <a:gd name="connsiteY14" fmla="*/ 1305448 h 3373734"/>
                    <a:gd name="connsiteX15" fmla="*/ 5170713 w 9143161"/>
                    <a:gd name="connsiteY15" fmla="*/ 1272791 h 3373734"/>
                    <a:gd name="connsiteX16" fmla="*/ 5682342 w 9143161"/>
                    <a:gd name="connsiteY16" fmla="*/ 1207477 h 3373734"/>
                    <a:gd name="connsiteX17" fmla="*/ 8000998 w 9143161"/>
                    <a:gd name="connsiteY17" fmla="*/ 935334 h 3373734"/>
                    <a:gd name="connsiteX18" fmla="*/ 7754814 w 9143161"/>
                    <a:gd name="connsiteY18" fmla="*/ 612112 h 3373734"/>
                    <a:gd name="connsiteX19" fmla="*/ 6459414 w 9143161"/>
                    <a:gd name="connsiteY19" fmla="*/ 360903 h 3373734"/>
                    <a:gd name="connsiteX20" fmla="*/ 5954485 w 9143161"/>
                    <a:gd name="connsiteY20" fmla="*/ 249534 h 3373734"/>
                    <a:gd name="connsiteX21" fmla="*/ 6585856 w 9143161"/>
                    <a:gd name="connsiteY21" fmla="*/ 260419 h 3373734"/>
                    <a:gd name="connsiteX22" fmla="*/ 9143161 w 9143161"/>
                    <a:gd name="connsiteY22" fmla="*/ 256232 h 3373734"/>
                    <a:gd name="connsiteX23" fmla="*/ 9142325 w 9143161"/>
                    <a:gd name="connsiteY23" fmla="*/ 0 h 3373734"/>
                    <a:gd name="connsiteX24" fmla="*/ 6792685 w 9143161"/>
                    <a:gd name="connsiteY24" fmla="*/ 10048 h 3373734"/>
                    <a:gd name="connsiteX25" fmla="*/ 5845628 w 9143161"/>
                    <a:gd name="connsiteY25" fmla="*/ 20934 h 3373734"/>
                    <a:gd name="connsiteX26" fmla="*/ 5050970 w 9143161"/>
                    <a:gd name="connsiteY26" fmla="*/ 53590 h 3373734"/>
                    <a:gd name="connsiteX27" fmla="*/ 5007428 w 9143161"/>
                    <a:gd name="connsiteY27" fmla="*/ 293077 h 3373734"/>
                    <a:gd name="connsiteX28" fmla="*/ 5910942 w 9143161"/>
                    <a:gd name="connsiteY28" fmla="*/ 521677 h 3373734"/>
                    <a:gd name="connsiteX29" fmla="*/ 6822829 w 9143161"/>
                    <a:gd name="connsiteY29" fmla="*/ 694174 h 3373734"/>
                    <a:gd name="connsiteX30" fmla="*/ 6553199 w 9143161"/>
                    <a:gd name="connsiteY30" fmla="*/ 761162 h 3373734"/>
                    <a:gd name="connsiteX31" fmla="*/ 5823856 w 9143161"/>
                    <a:gd name="connsiteY31" fmla="*/ 837362 h 3373734"/>
                    <a:gd name="connsiteX32" fmla="*/ 4920342 w 9143161"/>
                    <a:gd name="connsiteY32" fmla="*/ 924448 h 3373734"/>
                    <a:gd name="connsiteX33" fmla="*/ 3352799 w 9143161"/>
                    <a:gd name="connsiteY33" fmla="*/ 1055077 h 3373734"/>
                    <a:gd name="connsiteX34" fmla="*/ 3243942 w 9143161"/>
                    <a:gd name="connsiteY34" fmla="*/ 1261905 h 3373734"/>
                    <a:gd name="connsiteX35" fmla="*/ 5508170 w 9143161"/>
                    <a:gd name="connsiteY35" fmla="*/ 1817077 h 3373734"/>
                    <a:gd name="connsiteX36" fmla="*/ 5758542 w 9143161"/>
                    <a:gd name="connsiteY36" fmla="*/ 2154534 h 3373734"/>
                    <a:gd name="connsiteX37" fmla="*/ 4125685 w 9143161"/>
                    <a:gd name="connsiteY37" fmla="*/ 2361362 h 3373734"/>
                    <a:gd name="connsiteX38" fmla="*/ 1894113 w 9143161"/>
                    <a:gd name="connsiteY38" fmla="*/ 2426677 h 3373734"/>
                    <a:gd name="connsiteX39" fmla="*/ 0 w 9143161"/>
                    <a:gd name="connsiteY39" fmla="*/ 2448448 h 3373734"/>
                    <a:gd name="connsiteX40" fmla="*/ 0 w 9143161"/>
                    <a:gd name="connsiteY40"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5410199 w 9143161"/>
                    <a:gd name="connsiteY3" fmla="*/ 3101591 h 3373734"/>
                    <a:gd name="connsiteX4" fmla="*/ 6890656 w 9143161"/>
                    <a:gd name="connsiteY4" fmla="*/ 2818562 h 3373734"/>
                    <a:gd name="connsiteX5" fmla="*/ 7739742 w 9143161"/>
                    <a:gd name="connsiteY5" fmla="*/ 2317819 h 3373734"/>
                    <a:gd name="connsiteX6" fmla="*/ 7761513 w 9143161"/>
                    <a:gd name="connsiteY6" fmla="*/ 2089219 h 3373734"/>
                    <a:gd name="connsiteX7" fmla="*/ 7685313 w 9143161"/>
                    <a:gd name="connsiteY7" fmla="*/ 1936820 h 3373734"/>
                    <a:gd name="connsiteX8" fmla="*/ 7456713 w 9143161"/>
                    <a:gd name="connsiteY8" fmla="*/ 1806191 h 3373734"/>
                    <a:gd name="connsiteX9" fmla="*/ 7010399 w 9143161"/>
                    <a:gd name="connsiteY9" fmla="*/ 1686448 h 3373734"/>
                    <a:gd name="connsiteX10" fmla="*/ 6291942 w 9143161"/>
                    <a:gd name="connsiteY10" fmla="*/ 1544934 h 3373734"/>
                    <a:gd name="connsiteX11" fmla="*/ 5649685 w 9143161"/>
                    <a:gd name="connsiteY11" fmla="*/ 1425191 h 3373734"/>
                    <a:gd name="connsiteX12" fmla="*/ 5399313 w 9143161"/>
                    <a:gd name="connsiteY12" fmla="*/ 1370762 h 3373734"/>
                    <a:gd name="connsiteX13" fmla="*/ 5148942 w 9143161"/>
                    <a:gd name="connsiteY13" fmla="*/ 1305448 h 3373734"/>
                    <a:gd name="connsiteX14" fmla="*/ 5170713 w 9143161"/>
                    <a:gd name="connsiteY14" fmla="*/ 1272791 h 3373734"/>
                    <a:gd name="connsiteX15" fmla="*/ 5682342 w 9143161"/>
                    <a:gd name="connsiteY15" fmla="*/ 1207477 h 3373734"/>
                    <a:gd name="connsiteX16" fmla="*/ 8000998 w 9143161"/>
                    <a:gd name="connsiteY16" fmla="*/ 935334 h 3373734"/>
                    <a:gd name="connsiteX17" fmla="*/ 7754814 w 9143161"/>
                    <a:gd name="connsiteY17" fmla="*/ 612112 h 3373734"/>
                    <a:gd name="connsiteX18" fmla="*/ 6459414 w 9143161"/>
                    <a:gd name="connsiteY18" fmla="*/ 360903 h 3373734"/>
                    <a:gd name="connsiteX19" fmla="*/ 5954485 w 9143161"/>
                    <a:gd name="connsiteY19" fmla="*/ 249534 h 3373734"/>
                    <a:gd name="connsiteX20" fmla="*/ 6585856 w 9143161"/>
                    <a:gd name="connsiteY20" fmla="*/ 260419 h 3373734"/>
                    <a:gd name="connsiteX21" fmla="*/ 9143161 w 9143161"/>
                    <a:gd name="connsiteY21" fmla="*/ 256232 h 3373734"/>
                    <a:gd name="connsiteX22" fmla="*/ 9142325 w 9143161"/>
                    <a:gd name="connsiteY22" fmla="*/ 0 h 3373734"/>
                    <a:gd name="connsiteX23" fmla="*/ 6792685 w 9143161"/>
                    <a:gd name="connsiteY23" fmla="*/ 10048 h 3373734"/>
                    <a:gd name="connsiteX24" fmla="*/ 5845628 w 9143161"/>
                    <a:gd name="connsiteY24" fmla="*/ 20934 h 3373734"/>
                    <a:gd name="connsiteX25" fmla="*/ 5050970 w 9143161"/>
                    <a:gd name="connsiteY25" fmla="*/ 53590 h 3373734"/>
                    <a:gd name="connsiteX26" fmla="*/ 5007428 w 9143161"/>
                    <a:gd name="connsiteY26" fmla="*/ 293077 h 3373734"/>
                    <a:gd name="connsiteX27" fmla="*/ 5910942 w 9143161"/>
                    <a:gd name="connsiteY27" fmla="*/ 521677 h 3373734"/>
                    <a:gd name="connsiteX28" fmla="*/ 6822829 w 9143161"/>
                    <a:gd name="connsiteY28" fmla="*/ 694174 h 3373734"/>
                    <a:gd name="connsiteX29" fmla="*/ 6553199 w 9143161"/>
                    <a:gd name="connsiteY29" fmla="*/ 761162 h 3373734"/>
                    <a:gd name="connsiteX30" fmla="*/ 5823856 w 9143161"/>
                    <a:gd name="connsiteY30" fmla="*/ 837362 h 3373734"/>
                    <a:gd name="connsiteX31" fmla="*/ 4920342 w 9143161"/>
                    <a:gd name="connsiteY31" fmla="*/ 924448 h 3373734"/>
                    <a:gd name="connsiteX32" fmla="*/ 3352799 w 9143161"/>
                    <a:gd name="connsiteY32" fmla="*/ 1055077 h 3373734"/>
                    <a:gd name="connsiteX33" fmla="*/ 3243942 w 9143161"/>
                    <a:gd name="connsiteY33" fmla="*/ 1261905 h 3373734"/>
                    <a:gd name="connsiteX34" fmla="*/ 5508170 w 9143161"/>
                    <a:gd name="connsiteY34" fmla="*/ 1817077 h 3373734"/>
                    <a:gd name="connsiteX35" fmla="*/ 5758542 w 9143161"/>
                    <a:gd name="connsiteY35" fmla="*/ 2154534 h 3373734"/>
                    <a:gd name="connsiteX36" fmla="*/ 4125685 w 9143161"/>
                    <a:gd name="connsiteY36" fmla="*/ 2361362 h 3373734"/>
                    <a:gd name="connsiteX37" fmla="*/ 1894113 w 9143161"/>
                    <a:gd name="connsiteY37" fmla="*/ 2426677 h 3373734"/>
                    <a:gd name="connsiteX38" fmla="*/ 0 w 9143161"/>
                    <a:gd name="connsiteY38" fmla="*/ 2448448 h 3373734"/>
                    <a:gd name="connsiteX39" fmla="*/ 0 w 9143161"/>
                    <a:gd name="connsiteY39"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5410199 w 9143161"/>
                    <a:gd name="connsiteY3" fmla="*/ 3101591 h 3373734"/>
                    <a:gd name="connsiteX4" fmla="*/ 6890656 w 9143161"/>
                    <a:gd name="connsiteY4" fmla="*/ 2818562 h 3373734"/>
                    <a:gd name="connsiteX5" fmla="*/ 7739742 w 9143161"/>
                    <a:gd name="connsiteY5" fmla="*/ 2317819 h 3373734"/>
                    <a:gd name="connsiteX6" fmla="*/ 7685313 w 9143161"/>
                    <a:gd name="connsiteY6" fmla="*/ 1936820 h 3373734"/>
                    <a:gd name="connsiteX7" fmla="*/ 7456713 w 9143161"/>
                    <a:gd name="connsiteY7" fmla="*/ 1806191 h 3373734"/>
                    <a:gd name="connsiteX8" fmla="*/ 7010399 w 9143161"/>
                    <a:gd name="connsiteY8" fmla="*/ 1686448 h 3373734"/>
                    <a:gd name="connsiteX9" fmla="*/ 6291942 w 9143161"/>
                    <a:gd name="connsiteY9" fmla="*/ 1544934 h 3373734"/>
                    <a:gd name="connsiteX10" fmla="*/ 5649685 w 9143161"/>
                    <a:gd name="connsiteY10" fmla="*/ 1425191 h 3373734"/>
                    <a:gd name="connsiteX11" fmla="*/ 5399313 w 9143161"/>
                    <a:gd name="connsiteY11" fmla="*/ 1370762 h 3373734"/>
                    <a:gd name="connsiteX12" fmla="*/ 5148942 w 9143161"/>
                    <a:gd name="connsiteY12" fmla="*/ 1305448 h 3373734"/>
                    <a:gd name="connsiteX13" fmla="*/ 5170713 w 9143161"/>
                    <a:gd name="connsiteY13" fmla="*/ 1272791 h 3373734"/>
                    <a:gd name="connsiteX14" fmla="*/ 5682342 w 9143161"/>
                    <a:gd name="connsiteY14" fmla="*/ 1207477 h 3373734"/>
                    <a:gd name="connsiteX15" fmla="*/ 8000998 w 9143161"/>
                    <a:gd name="connsiteY15" fmla="*/ 935334 h 3373734"/>
                    <a:gd name="connsiteX16" fmla="*/ 7754814 w 9143161"/>
                    <a:gd name="connsiteY16" fmla="*/ 612112 h 3373734"/>
                    <a:gd name="connsiteX17" fmla="*/ 6459414 w 9143161"/>
                    <a:gd name="connsiteY17" fmla="*/ 360903 h 3373734"/>
                    <a:gd name="connsiteX18" fmla="*/ 5954485 w 9143161"/>
                    <a:gd name="connsiteY18" fmla="*/ 249534 h 3373734"/>
                    <a:gd name="connsiteX19" fmla="*/ 6585856 w 9143161"/>
                    <a:gd name="connsiteY19" fmla="*/ 260419 h 3373734"/>
                    <a:gd name="connsiteX20" fmla="*/ 9143161 w 9143161"/>
                    <a:gd name="connsiteY20" fmla="*/ 256232 h 3373734"/>
                    <a:gd name="connsiteX21" fmla="*/ 9142325 w 9143161"/>
                    <a:gd name="connsiteY21" fmla="*/ 0 h 3373734"/>
                    <a:gd name="connsiteX22" fmla="*/ 6792685 w 9143161"/>
                    <a:gd name="connsiteY22" fmla="*/ 10048 h 3373734"/>
                    <a:gd name="connsiteX23" fmla="*/ 5845628 w 9143161"/>
                    <a:gd name="connsiteY23" fmla="*/ 20934 h 3373734"/>
                    <a:gd name="connsiteX24" fmla="*/ 5050970 w 9143161"/>
                    <a:gd name="connsiteY24" fmla="*/ 53590 h 3373734"/>
                    <a:gd name="connsiteX25" fmla="*/ 5007428 w 9143161"/>
                    <a:gd name="connsiteY25" fmla="*/ 293077 h 3373734"/>
                    <a:gd name="connsiteX26" fmla="*/ 5910942 w 9143161"/>
                    <a:gd name="connsiteY26" fmla="*/ 521677 h 3373734"/>
                    <a:gd name="connsiteX27" fmla="*/ 6822829 w 9143161"/>
                    <a:gd name="connsiteY27" fmla="*/ 694174 h 3373734"/>
                    <a:gd name="connsiteX28" fmla="*/ 6553199 w 9143161"/>
                    <a:gd name="connsiteY28" fmla="*/ 761162 h 3373734"/>
                    <a:gd name="connsiteX29" fmla="*/ 5823856 w 9143161"/>
                    <a:gd name="connsiteY29" fmla="*/ 837362 h 3373734"/>
                    <a:gd name="connsiteX30" fmla="*/ 4920342 w 9143161"/>
                    <a:gd name="connsiteY30" fmla="*/ 924448 h 3373734"/>
                    <a:gd name="connsiteX31" fmla="*/ 3352799 w 9143161"/>
                    <a:gd name="connsiteY31" fmla="*/ 1055077 h 3373734"/>
                    <a:gd name="connsiteX32" fmla="*/ 3243942 w 9143161"/>
                    <a:gd name="connsiteY32" fmla="*/ 1261905 h 3373734"/>
                    <a:gd name="connsiteX33" fmla="*/ 5508170 w 9143161"/>
                    <a:gd name="connsiteY33" fmla="*/ 1817077 h 3373734"/>
                    <a:gd name="connsiteX34" fmla="*/ 5758542 w 9143161"/>
                    <a:gd name="connsiteY34" fmla="*/ 2154534 h 3373734"/>
                    <a:gd name="connsiteX35" fmla="*/ 4125685 w 9143161"/>
                    <a:gd name="connsiteY35" fmla="*/ 2361362 h 3373734"/>
                    <a:gd name="connsiteX36" fmla="*/ 1894113 w 9143161"/>
                    <a:gd name="connsiteY36" fmla="*/ 2426677 h 3373734"/>
                    <a:gd name="connsiteX37" fmla="*/ 0 w 9143161"/>
                    <a:gd name="connsiteY37" fmla="*/ 2448448 h 3373734"/>
                    <a:gd name="connsiteX38" fmla="*/ 0 w 9143161"/>
                    <a:gd name="connsiteY38"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5410199 w 9143161"/>
                    <a:gd name="connsiteY3" fmla="*/ 3101591 h 3373734"/>
                    <a:gd name="connsiteX4" fmla="*/ 6890656 w 9143161"/>
                    <a:gd name="connsiteY4" fmla="*/ 2818562 h 3373734"/>
                    <a:gd name="connsiteX5" fmla="*/ 7739742 w 9143161"/>
                    <a:gd name="connsiteY5" fmla="*/ 2317819 h 3373734"/>
                    <a:gd name="connsiteX6" fmla="*/ 7685313 w 9143161"/>
                    <a:gd name="connsiteY6" fmla="*/ 1936820 h 3373734"/>
                    <a:gd name="connsiteX7" fmla="*/ 7010399 w 9143161"/>
                    <a:gd name="connsiteY7" fmla="*/ 1686448 h 3373734"/>
                    <a:gd name="connsiteX8" fmla="*/ 6291942 w 9143161"/>
                    <a:gd name="connsiteY8" fmla="*/ 1544934 h 3373734"/>
                    <a:gd name="connsiteX9" fmla="*/ 5649685 w 9143161"/>
                    <a:gd name="connsiteY9" fmla="*/ 1425191 h 3373734"/>
                    <a:gd name="connsiteX10" fmla="*/ 5399313 w 9143161"/>
                    <a:gd name="connsiteY10" fmla="*/ 1370762 h 3373734"/>
                    <a:gd name="connsiteX11" fmla="*/ 5148942 w 9143161"/>
                    <a:gd name="connsiteY11" fmla="*/ 1305448 h 3373734"/>
                    <a:gd name="connsiteX12" fmla="*/ 5170713 w 9143161"/>
                    <a:gd name="connsiteY12" fmla="*/ 1272791 h 3373734"/>
                    <a:gd name="connsiteX13" fmla="*/ 5682342 w 9143161"/>
                    <a:gd name="connsiteY13" fmla="*/ 1207477 h 3373734"/>
                    <a:gd name="connsiteX14" fmla="*/ 8000998 w 9143161"/>
                    <a:gd name="connsiteY14" fmla="*/ 935334 h 3373734"/>
                    <a:gd name="connsiteX15" fmla="*/ 7754814 w 9143161"/>
                    <a:gd name="connsiteY15" fmla="*/ 612112 h 3373734"/>
                    <a:gd name="connsiteX16" fmla="*/ 6459414 w 9143161"/>
                    <a:gd name="connsiteY16" fmla="*/ 360903 h 3373734"/>
                    <a:gd name="connsiteX17" fmla="*/ 5954485 w 9143161"/>
                    <a:gd name="connsiteY17" fmla="*/ 249534 h 3373734"/>
                    <a:gd name="connsiteX18" fmla="*/ 6585856 w 9143161"/>
                    <a:gd name="connsiteY18" fmla="*/ 260419 h 3373734"/>
                    <a:gd name="connsiteX19" fmla="*/ 9143161 w 9143161"/>
                    <a:gd name="connsiteY19" fmla="*/ 256232 h 3373734"/>
                    <a:gd name="connsiteX20" fmla="*/ 9142325 w 9143161"/>
                    <a:gd name="connsiteY20" fmla="*/ 0 h 3373734"/>
                    <a:gd name="connsiteX21" fmla="*/ 6792685 w 9143161"/>
                    <a:gd name="connsiteY21" fmla="*/ 10048 h 3373734"/>
                    <a:gd name="connsiteX22" fmla="*/ 5845628 w 9143161"/>
                    <a:gd name="connsiteY22" fmla="*/ 20934 h 3373734"/>
                    <a:gd name="connsiteX23" fmla="*/ 5050970 w 9143161"/>
                    <a:gd name="connsiteY23" fmla="*/ 53590 h 3373734"/>
                    <a:gd name="connsiteX24" fmla="*/ 5007428 w 9143161"/>
                    <a:gd name="connsiteY24" fmla="*/ 293077 h 3373734"/>
                    <a:gd name="connsiteX25" fmla="*/ 5910942 w 9143161"/>
                    <a:gd name="connsiteY25" fmla="*/ 521677 h 3373734"/>
                    <a:gd name="connsiteX26" fmla="*/ 6822829 w 9143161"/>
                    <a:gd name="connsiteY26" fmla="*/ 694174 h 3373734"/>
                    <a:gd name="connsiteX27" fmla="*/ 6553199 w 9143161"/>
                    <a:gd name="connsiteY27" fmla="*/ 761162 h 3373734"/>
                    <a:gd name="connsiteX28" fmla="*/ 5823856 w 9143161"/>
                    <a:gd name="connsiteY28" fmla="*/ 837362 h 3373734"/>
                    <a:gd name="connsiteX29" fmla="*/ 4920342 w 9143161"/>
                    <a:gd name="connsiteY29" fmla="*/ 924448 h 3373734"/>
                    <a:gd name="connsiteX30" fmla="*/ 3352799 w 9143161"/>
                    <a:gd name="connsiteY30" fmla="*/ 1055077 h 3373734"/>
                    <a:gd name="connsiteX31" fmla="*/ 3243942 w 9143161"/>
                    <a:gd name="connsiteY31" fmla="*/ 1261905 h 3373734"/>
                    <a:gd name="connsiteX32" fmla="*/ 5508170 w 9143161"/>
                    <a:gd name="connsiteY32" fmla="*/ 1817077 h 3373734"/>
                    <a:gd name="connsiteX33" fmla="*/ 5758542 w 9143161"/>
                    <a:gd name="connsiteY33" fmla="*/ 2154534 h 3373734"/>
                    <a:gd name="connsiteX34" fmla="*/ 4125685 w 9143161"/>
                    <a:gd name="connsiteY34" fmla="*/ 2361362 h 3373734"/>
                    <a:gd name="connsiteX35" fmla="*/ 1894113 w 9143161"/>
                    <a:gd name="connsiteY35" fmla="*/ 2426677 h 3373734"/>
                    <a:gd name="connsiteX36" fmla="*/ 0 w 9143161"/>
                    <a:gd name="connsiteY36" fmla="*/ 2448448 h 3373734"/>
                    <a:gd name="connsiteX37" fmla="*/ 0 w 9143161"/>
                    <a:gd name="connsiteY37"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5410199 w 9143161"/>
                    <a:gd name="connsiteY3" fmla="*/ 3101591 h 3373734"/>
                    <a:gd name="connsiteX4" fmla="*/ 6890656 w 9143161"/>
                    <a:gd name="connsiteY4" fmla="*/ 2818562 h 3373734"/>
                    <a:gd name="connsiteX5" fmla="*/ 7739742 w 9143161"/>
                    <a:gd name="connsiteY5" fmla="*/ 2317819 h 3373734"/>
                    <a:gd name="connsiteX6" fmla="*/ 7685313 w 9143161"/>
                    <a:gd name="connsiteY6" fmla="*/ 1936820 h 3373734"/>
                    <a:gd name="connsiteX7" fmla="*/ 7010399 w 9143161"/>
                    <a:gd name="connsiteY7" fmla="*/ 1686448 h 3373734"/>
                    <a:gd name="connsiteX8" fmla="*/ 5649685 w 9143161"/>
                    <a:gd name="connsiteY8" fmla="*/ 1425191 h 3373734"/>
                    <a:gd name="connsiteX9" fmla="*/ 5399313 w 9143161"/>
                    <a:gd name="connsiteY9" fmla="*/ 1370762 h 3373734"/>
                    <a:gd name="connsiteX10" fmla="*/ 5148942 w 9143161"/>
                    <a:gd name="connsiteY10" fmla="*/ 1305448 h 3373734"/>
                    <a:gd name="connsiteX11" fmla="*/ 5170713 w 9143161"/>
                    <a:gd name="connsiteY11" fmla="*/ 1272791 h 3373734"/>
                    <a:gd name="connsiteX12" fmla="*/ 5682342 w 9143161"/>
                    <a:gd name="connsiteY12" fmla="*/ 1207477 h 3373734"/>
                    <a:gd name="connsiteX13" fmla="*/ 8000998 w 9143161"/>
                    <a:gd name="connsiteY13" fmla="*/ 935334 h 3373734"/>
                    <a:gd name="connsiteX14" fmla="*/ 7754814 w 9143161"/>
                    <a:gd name="connsiteY14" fmla="*/ 612112 h 3373734"/>
                    <a:gd name="connsiteX15" fmla="*/ 6459414 w 9143161"/>
                    <a:gd name="connsiteY15" fmla="*/ 360903 h 3373734"/>
                    <a:gd name="connsiteX16" fmla="*/ 5954485 w 9143161"/>
                    <a:gd name="connsiteY16" fmla="*/ 249534 h 3373734"/>
                    <a:gd name="connsiteX17" fmla="*/ 6585856 w 9143161"/>
                    <a:gd name="connsiteY17" fmla="*/ 260419 h 3373734"/>
                    <a:gd name="connsiteX18" fmla="*/ 9143161 w 9143161"/>
                    <a:gd name="connsiteY18" fmla="*/ 256232 h 3373734"/>
                    <a:gd name="connsiteX19" fmla="*/ 9142325 w 9143161"/>
                    <a:gd name="connsiteY19" fmla="*/ 0 h 3373734"/>
                    <a:gd name="connsiteX20" fmla="*/ 6792685 w 9143161"/>
                    <a:gd name="connsiteY20" fmla="*/ 10048 h 3373734"/>
                    <a:gd name="connsiteX21" fmla="*/ 5845628 w 9143161"/>
                    <a:gd name="connsiteY21" fmla="*/ 20934 h 3373734"/>
                    <a:gd name="connsiteX22" fmla="*/ 5050970 w 9143161"/>
                    <a:gd name="connsiteY22" fmla="*/ 53590 h 3373734"/>
                    <a:gd name="connsiteX23" fmla="*/ 5007428 w 9143161"/>
                    <a:gd name="connsiteY23" fmla="*/ 293077 h 3373734"/>
                    <a:gd name="connsiteX24" fmla="*/ 5910942 w 9143161"/>
                    <a:gd name="connsiteY24" fmla="*/ 521677 h 3373734"/>
                    <a:gd name="connsiteX25" fmla="*/ 6822829 w 9143161"/>
                    <a:gd name="connsiteY25" fmla="*/ 694174 h 3373734"/>
                    <a:gd name="connsiteX26" fmla="*/ 6553199 w 9143161"/>
                    <a:gd name="connsiteY26" fmla="*/ 761162 h 3373734"/>
                    <a:gd name="connsiteX27" fmla="*/ 5823856 w 9143161"/>
                    <a:gd name="connsiteY27" fmla="*/ 837362 h 3373734"/>
                    <a:gd name="connsiteX28" fmla="*/ 4920342 w 9143161"/>
                    <a:gd name="connsiteY28" fmla="*/ 924448 h 3373734"/>
                    <a:gd name="connsiteX29" fmla="*/ 3352799 w 9143161"/>
                    <a:gd name="connsiteY29" fmla="*/ 1055077 h 3373734"/>
                    <a:gd name="connsiteX30" fmla="*/ 3243942 w 9143161"/>
                    <a:gd name="connsiteY30" fmla="*/ 1261905 h 3373734"/>
                    <a:gd name="connsiteX31" fmla="*/ 5508170 w 9143161"/>
                    <a:gd name="connsiteY31" fmla="*/ 1817077 h 3373734"/>
                    <a:gd name="connsiteX32" fmla="*/ 5758542 w 9143161"/>
                    <a:gd name="connsiteY32" fmla="*/ 2154534 h 3373734"/>
                    <a:gd name="connsiteX33" fmla="*/ 4125685 w 9143161"/>
                    <a:gd name="connsiteY33" fmla="*/ 2361362 h 3373734"/>
                    <a:gd name="connsiteX34" fmla="*/ 1894113 w 9143161"/>
                    <a:gd name="connsiteY34" fmla="*/ 2426677 h 3373734"/>
                    <a:gd name="connsiteX35" fmla="*/ 0 w 9143161"/>
                    <a:gd name="connsiteY35" fmla="*/ 2448448 h 3373734"/>
                    <a:gd name="connsiteX36" fmla="*/ 0 w 9143161"/>
                    <a:gd name="connsiteY36"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5410199 w 9143161"/>
                    <a:gd name="connsiteY3" fmla="*/ 3101591 h 3373734"/>
                    <a:gd name="connsiteX4" fmla="*/ 6890656 w 9143161"/>
                    <a:gd name="connsiteY4" fmla="*/ 2818562 h 3373734"/>
                    <a:gd name="connsiteX5" fmla="*/ 7739742 w 9143161"/>
                    <a:gd name="connsiteY5" fmla="*/ 2317819 h 3373734"/>
                    <a:gd name="connsiteX6" fmla="*/ 7685313 w 9143161"/>
                    <a:gd name="connsiteY6" fmla="*/ 1936820 h 3373734"/>
                    <a:gd name="connsiteX7" fmla="*/ 7010399 w 9143161"/>
                    <a:gd name="connsiteY7" fmla="*/ 1686448 h 3373734"/>
                    <a:gd name="connsiteX8" fmla="*/ 5649685 w 9143161"/>
                    <a:gd name="connsiteY8" fmla="*/ 1425191 h 3373734"/>
                    <a:gd name="connsiteX9" fmla="*/ 5148942 w 9143161"/>
                    <a:gd name="connsiteY9" fmla="*/ 1305448 h 3373734"/>
                    <a:gd name="connsiteX10" fmla="*/ 5170713 w 9143161"/>
                    <a:gd name="connsiteY10" fmla="*/ 1272791 h 3373734"/>
                    <a:gd name="connsiteX11" fmla="*/ 5682342 w 9143161"/>
                    <a:gd name="connsiteY11" fmla="*/ 1207477 h 3373734"/>
                    <a:gd name="connsiteX12" fmla="*/ 8000998 w 9143161"/>
                    <a:gd name="connsiteY12" fmla="*/ 935334 h 3373734"/>
                    <a:gd name="connsiteX13" fmla="*/ 7754814 w 9143161"/>
                    <a:gd name="connsiteY13" fmla="*/ 612112 h 3373734"/>
                    <a:gd name="connsiteX14" fmla="*/ 6459414 w 9143161"/>
                    <a:gd name="connsiteY14" fmla="*/ 360903 h 3373734"/>
                    <a:gd name="connsiteX15" fmla="*/ 5954485 w 9143161"/>
                    <a:gd name="connsiteY15" fmla="*/ 249534 h 3373734"/>
                    <a:gd name="connsiteX16" fmla="*/ 6585856 w 9143161"/>
                    <a:gd name="connsiteY16" fmla="*/ 260419 h 3373734"/>
                    <a:gd name="connsiteX17" fmla="*/ 9143161 w 9143161"/>
                    <a:gd name="connsiteY17" fmla="*/ 256232 h 3373734"/>
                    <a:gd name="connsiteX18" fmla="*/ 9142325 w 9143161"/>
                    <a:gd name="connsiteY18" fmla="*/ 0 h 3373734"/>
                    <a:gd name="connsiteX19" fmla="*/ 6792685 w 9143161"/>
                    <a:gd name="connsiteY19" fmla="*/ 10048 h 3373734"/>
                    <a:gd name="connsiteX20" fmla="*/ 5845628 w 9143161"/>
                    <a:gd name="connsiteY20" fmla="*/ 20934 h 3373734"/>
                    <a:gd name="connsiteX21" fmla="*/ 5050970 w 9143161"/>
                    <a:gd name="connsiteY21" fmla="*/ 53590 h 3373734"/>
                    <a:gd name="connsiteX22" fmla="*/ 5007428 w 9143161"/>
                    <a:gd name="connsiteY22" fmla="*/ 293077 h 3373734"/>
                    <a:gd name="connsiteX23" fmla="*/ 5910942 w 9143161"/>
                    <a:gd name="connsiteY23" fmla="*/ 521677 h 3373734"/>
                    <a:gd name="connsiteX24" fmla="*/ 6822829 w 9143161"/>
                    <a:gd name="connsiteY24" fmla="*/ 694174 h 3373734"/>
                    <a:gd name="connsiteX25" fmla="*/ 6553199 w 9143161"/>
                    <a:gd name="connsiteY25" fmla="*/ 761162 h 3373734"/>
                    <a:gd name="connsiteX26" fmla="*/ 5823856 w 9143161"/>
                    <a:gd name="connsiteY26" fmla="*/ 837362 h 3373734"/>
                    <a:gd name="connsiteX27" fmla="*/ 4920342 w 9143161"/>
                    <a:gd name="connsiteY27" fmla="*/ 924448 h 3373734"/>
                    <a:gd name="connsiteX28" fmla="*/ 3352799 w 9143161"/>
                    <a:gd name="connsiteY28" fmla="*/ 1055077 h 3373734"/>
                    <a:gd name="connsiteX29" fmla="*/ 3243942 w 9143161"/>
                    <a:gd name="connsiteY29" fmla="*/ 1261905 h 3373734"/>
                    <a:gd name="connsiteX30" fmla="*/ 5508170 w 9143161"/>
                    <a:gd name="connsiteY30" fmla="*/ 1817077 h 3373734"/>
                    <a:gd name="connsiteX31" fmla="*/ 5758542 w 9143161"/>
                    <a:gd name="connsiteY31" fmla="*/ 2154534 h 3373734"/>
                    <a:gd name="connsiteX32" fmla="*/ 4125685 w 9143161"/>
                    <a:gd name="connsiteY32" fmla="*/ 2361362 h 3373734"/>
                    <a:gd name="connsiteX33" fmla="*/ 1894113 w 9143161"/>
                    <a:gd name="connsiteY33" fmla="*/ 2426677 h 3373734"/>
                    <a:gd name="connsiteX34" fmla="*/ 0 w 9143161"/>
                    <a:gd name="connsiteY34" fmla="*/ 2448448 h 3373734"/>
                    <a:gd name="connsiteX35" fmla="*/ 0 w 9143161"/>
                    <a:gd name="connsiteY35"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6890656 w 9143161"/>
                    <a:gd name="connsiteY3" fmla="*/ 2818562 h 3373734"/>
                    <a:gd name="connsiteX4" fmla="*/ 7739742 w 9143161"/>
                    <a:gd name="connsiteY4" fmla="*/ 2317819 h 3373734"/>
                    <a:gd name="connsiteX5" fmla="*/ 7685313 w 9143161"/>
                    <a:gd name="connsiteY5" fmla="*/ 1936820 h 3373734"/>
                    <a:gd name="connsiteX6" fmla="*/ 7010399 w 9143161"/>
                    <a:gd name="connsiteY6" fmla="*/ 1686448 h 3373734"/>
                    <a:gd name="connsiteX7" fmla="*/ 5649685 w 9143161"/>
                    <a:gd name="connsiteY7" fmla="*/ 1425191 h 3373734"/>
                    <a:gd name="connsiteX8" fmla="*/ 5148942 w 9143161"/>
                    <a:gd name="connsiteY8" fmla="*/ 1305448 h 3373734"/>
                    <a:gd name="connsiteX9" fmla="*/ 5170713 w 9143161"/>
                    <a:gd name="connsiteY9" fmla="*/ 1272791 h 3373734"/>
                    <a:gd name="connsiteX10" fmla="*/ 5682342 w 9143161"/>
                    <a:gd name="connsiteY10" fmla="*/ 1207477 h 3373734"/>
                    <a:gd name="connsiteX11" fmla="*/ 8000998 w 9143161"/>
                    <a:gd name="connsiteY11" fmla="*/ 935334 h 3373734"/>
                    <a:gd name="connsiteX12" fmla="*/ 7754814 w 9143161"/>
                    <a:gd name="connsiteY12" fmla="*/ 612112 h 3373734"/>
                    <a:gd name="connsiteX13" fmla="*/ 6459414 w 9143161"/>
                    <a:gd name="connsiteY13" fmla="*/ 360903 h 3373734"/>
                    <a:gd name="connsiteX14" fmla="*/ 5954485 w 9143161"/>
                    <a:gd name="connsiteY14" fmla="*/ 249534 h 3373734"/>
                    <a:gd name="connsiteX15" fmla="*/ 6585856 w 9143161"/>
                    <a:gd name="connsiteY15" fmla="*/ 260419 h 3373734"/>
                    <a:gd name="connsiteX16" fmla="*/ 9143161 w 9143161"/>
                    <a:gd name="connsiteY16" fmla="*/ 256232 h 3373734"/>
                    <a:gd name="connsiteX17" fmla="*/ 9142325 w 9143161"/>
                    <a:gd name="connsiteY17" fmla="*/ 0 h 3373734"/>
                    <a:gd name="connsiteX18" fmla="*/ 6792685 w 9143161"/>
                    <a:gd name="connsiteY18" fmla="*/ 10048 h 3373734"/>
                    <a:gd name="connsiteX19" fmla="*/ 5845628 w 9143161"/>
                    <a:gd name="connsiteY19" fmla="*/ 20934 h 3373734"/>
                    <a:gd name="connsiteX20" fmla="*/ 5050970 w 9143161"/>
                    <a:gd name="connsiteY20" fmla="*/ 53590 h 3373734"/>
                    <a:gd name="connsiteX21" fmla="*/ 5007428 w 9143161"/>
                    <a:gd name="connsiteY21" fmla="*/ 293077 h 3373734"/>
                    <a:gd name="connsiteX22" fmla="*/ 5910942 w 9143161"/>
                    <a:gd name="connsiteY22" fmla="*/ 521677 h 3373734"/>
                    <a:gd name="connsiteX23" fmla="*/ 6822829 w 9143161"/>
                    <a:gd name="connsiteY23" fmla="*/ 694174 h 3373734"/>
                    <a:gd name="connsiteX24" fmla="*/ 6553199 w 9143161"/>
                    <a:gd name="connsiteY24" fmla="*/ 761162 h 3373734"/>
                    <a:gd name="connsiteX25" fmla="*/ 5823856 w 9143161"/>
                    <a:gd name="connsiteY25" fmla="*/ 837362 h 3373734"/>
                    <a:gd name="connsiteX26" fmla="*/ 4920342 w 9143161"/>
                    <a:gd name="connsiteY26" fmla="*/ 924448 h 3373734"/>
                    <a:gd name="connsiteX27" fmla="*/ 3352799 w 9143161"/>
                    <a:gd name="connsiteY27" fmla="*/ 1055077 h 3373734"/>
                    <a:gd name="connsiteX28" fmla="*/ 3243942 w 9143161"/>
                    <a:gd name="connsiteY28" fmla="*/ 1261905 h 3373734"/>
                    <a:gd name="connsiteX29" fmla="*/ 5508170 w 9143161"/>
                    <a:gd name="connsiteY29" fmla="*/ 1817077 h 3373734"/>
                    <a:gd name="connsiteX30" fmla="*/ 5758542 w 9143161"/>
                    <a:gd name="connsiteY30" fmla="*/ 2154534 h 3373734"/>
                    <a:gd name="connsiteX31" fmla="*/ 4125685 w 9143161"/>
                    <a:gd name="connsiteY31" fmla="*/ 2361362 h 3373734"/>
                    <a:gd name="connsiteX32" fmla="*/ 1894113 w 9143161"/>
                    <a:gd name="connsiteY32" fmla="*/ 2426677 h 3373734"/>
                    <a:gd name="connsiteX33" fmla="*/ 0 w 9143161"/>
                    <a:gd name="connsiteY33" fmla="*/ 2448448 h 3373734"/>
                    <a:gd name="connsiteX34" fmla="*/ 0 w 9143161"/>
                    <a:gd name="connsiteY34" fmla="*/ 3373734 h 3373734"/>
                    <a:gd name="connsiteX0" fmla="*/ 0 w 9143161"/>
                    <a:gd name="connsiteY0" fmla="*/ 3373734 h 3373734"/>
                    <a:gd name="connsiteX1" fmla="*/ 718456 w 9143161"/>
                    <a:gd name="connsiteY1" fmla="*/ 3362848 h 3373734"/>
                    <a:gd name="connsiteX2" fmla="*/ 3929742 w 9143161"/>
                    <a:gd name="connsiteY2" fmla="*/ 3232219 h 3373734"/>
                    <a:gd name="connsiteX3" fmla="*/ 6890656 w 9143161"/>
                    <a:gd name="connsiteY3" fmla="*/ 2916534 h 3373734"/>
                    <a:gd name="connsiteX4" fmla="*/ 7739742 w 9143161"/>
                    <a:gd name="connsiteY4" fmla="*/ 2317819 h 3373734"/>
                    <a:gd name="connsiteX5" fmla="*/ 7685313 w 9143161"/>
                    <a:gd name="connsiteY5" fmla="*/ 1936820 h 3373734"/>
                    <a:gd name="connsiteX6" fmla="*/ 7010399 w 9143161"/>
                    <a:gd name="connsiteY6" fmla="*/ 1686448 h 3373734"/>
                    <a:gd name="connsiteX7" fmla="*/ 5649685 w 9143161"/>
                    <a:gd name="connsiteY7" fmla="*/ 1425191 h 3373734"/>
                    <a:gd name="connsiteX8" fmla="*/ 5148942 w 9143161"/>
                    <a:gd name="connsiteY8" fmla="*/ 1305448 h 3373734"/>
                    <a:gd name="connsiteX9" fmla="*/ 5170713 w 9143161"/>
                    <a:gd name="connsiteY9" fmla="*/ 1272791 h 3373734"/>
                    <a:gd name="connsiteX10" fmla="*/ 5682342 w 9143161"/>
                    <a:gd name="connsiteY10" fmla="*/ 1207477 h 3373734"/>
                    <a:gd name="connsiteX11" fmla="*/ 8000998 w 9143161"/>
                    <a:gd name="connsiteY11" fmla="*/ 935334 h 3373734"/>
                    <a:gd name="connsiteX12" fmla="*/ 7754814 w 9143161"/>
                    <a:gd name="connsiteY12" fmla="*/ 612112 h 3373734"/>
                    <a:gd name="connsiteX13" fmla="*/ 6459414 w 9143161"/>
                    <a:gd name="connsiteY13" fmla="*/ 360903 h 3373734"/>
                    <a:gd name="connsiteX14" fmla="*/ 5954485 w 9143161"/>
                    <a:gd name="connsiteY14" fmla="*/ 249534 h 3373734"/>
                    <a:gd name="connsiteX15" fmla="*/ 6585856 w 9143161"/>
                    <a:gd name="connsiteY15" fmla="*/ 260419 h 3373734"/>
                    <a:gd name="connsiteX16" fmla="*/ 9143161 w 9143161"/>
                    <a:gd name="connsiteY16" fmla="*/ 256232 h 3373734"/>
                    <a:gd name="connsiteX17" fmla="*/ 9142325 w 9143161"/>
                    <a:gd name="connsiteY17" fmla="*/ 0 h 3373734"/>
                    <a:gd name="connsiteX18" fmla="*/ 6792685 w 9143161"/>
                    <a:gd name="connsiteY18" fmla="*/ 10048 h 3373734"/>
                    <a:gd name="connsiteX19" fmla="*/ 5845628 w 9143161"/>
                    <a:gd name="connsiteY19" fmla="*/ 20934 h 3373734"/>
                    <a:gd name="connsiteX20" fmla="*/ 5050970 w 9143161"/>
                    <a:gd name="connsiteY20" fmla="*/ 53590 h 3373734"/>
                    <a:gd name="connsiteX21" fmla="*/ 5007428 w 9143161"/>
                    <a:gd name="connsiteY21" fmla="*/ 293077 h 3373734"/>
                    <a:gd name="connsiteX22" fmla="*/ 5910942 w 9143161"/>
                    <a:gd name="connsiteY22" fmla="*/ 521677 h 3373734"/>
                    <a:gd name="connsiteX23" fmla="*/ 6822829 w 9143161"/>
                    <a:gd name="connsiteY23" fmla="*/ 694174 h 3373734"/>
                    <a:gd name="connsiteX24" fmla="*/ 6553199 w 9143161"/>
                    <a:gd name="connsiteY24" fmla="*/ 761162 h 3373734"/>
                    <a:gd name="connsiteX25" fmla="*/ 5823856 w 9143161"/>
                    <a:gd name="connsiteY25" fmla="*/ 837362 h 3373734"/>
                    <a:gd name="connsiteX26" fmla="*/ 4920342 w 9143161"/>
                    <a:gd name="connsiteY26" fmla="*/ 924448 h 3373734"/>
                    <a:gd name="connsiteX27" fmla="*/ 3352799 w 9143161"/>
                    <a:gd name="connsiteY27" fmla="*/ 1055077 h 3373734"/>
                    <a:gd name="connsiteX28" fmla="*/ 3243942 w 9143161"/>
                    <a:gd name="connsiteY28" fmla="*/ 1261905 h 3373734"/>
                    <a:gd name="connsiteX29" fmla="*/ 5508170 w 9143161"/>
                    <a:gd name="connsiteY29" fmla="*/ 1817077 h 3373734"/>
                    <a:gd name="connsiteX30" fmla="*/ 5758542 w 9143161"/>
                    <a:gd name="connsiteY30" fmla="*/ 2154534 h 3373734"/>
                    <a:gd name="connsiteX31" fmla="*/ 4125685 w 9143161"/>
                    <a:gd name="connsiteY31" fmla="*/ 2361362 h 3373734"/>
                    <a:gd name="connsiteX32" fmla="*/ 1894113 w 9143161"/>
                    <a:gd name="connsiteY32" fmla="*/ 2426677 h 3373734"/>
                    <a:gd name="connsiteX33" fmla="*/ 0 w 9143161"/>
                    <a:gd name="connsiteY33" fmla="*/ 2448448 h 3373734"/>
                    <a:gd name="connsiteX34" fmla="*/ 0 w 9143161"/>
                    <a:gd name="connsiteY34"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7739742 w 9143161"/>
                    <a:gd name="connsiteY4" fmla="*/ 2317819 h 3373734"/>
                    <a:gd name="connsiteX5" fmla="*/ 7685313 w 9143161"/>
                    <a:gd name="connsiteY5" fmla="*/ 1936820 h 3373734"/>
                    <a:gd name="connsiteX6" fmla="*/ 7010399 w 9143161"/>
                    <a:gd name="connsiteY6" fmla="*/ 1686448 h 3373734"/>
                    <a:gd name="connsiteX7" fmla="*/ 5649685 w 9143161"/>
                    <a:gd name="connsiteY7" fmla="*/ 1425191 h 3373734"/>
                    <a:gd name="connsiteX8" fmla="*/ 5148942 w 9143161"/>
                    <a:gd name="connsiteY8" fmla="*/ 1305448 h 3373734"/>
                    <a:gd name="connsiteX9" fmla="*/ 5170713 w 9143161"/>
                    <a:gd name="connsiteY9" fmla="*/ 1272791 h 3373734"/>
                    <a:gd name="connsiteX10" fmla="*/ 5682342 w 9143161"/>
                    <a:gd name="connsiteY10" fmla="*/ 1207477 h 3373734"/>
                    <a:gd name="connsiteX11" fmla="*/ 8000998 w 9143161"/>
                    <a:gd name="connsiteY11" fmla="*/ 935334 h 3373734"/>
                    <a:gd name="connsiteX12" fmla="*/ 7754814 w 9143161"/>
                    <a:gd name="connsiteY12" fmla="*/ 612112 h 3373734"/>
                    <a:gd name="connsiteX13" fmla="*/ 6459414 w 9143161"/>
                    <a:gd name="connsiteY13" fmla="*/ 360903 h 3373734"/>
                    <a:gd name="connsiteX14" fmla="*/ 5954485 w 9143161"/>
                    <a:gd name="connsiteY14" fmla="*/ 249534 h 3373734"/>
                    <a:gd name="connsiteX15" fmla="*/ 6585856 w 9143161"/>
                    <a:gd name="connsiteY15" fmla="*/ 260419 h 3373734"/>
                    <a:gd name="connsiteX16" fmla="*/ 9143161 w 9143161"/>
                    <a:gd name="connsiteY16" fmla="*/ 256232 h 3373734"/>
                    <a:gd name="connsiteX17" fmla="*/ 9142325 w 9143161"/>
                    <a:gd name="connsiteY17" fmla="*/ 0 h 3373734"/>
                    <a:gd name="connsiteX18" fmla="*/ 6792685 w 9143161"/>
                    <a:gd name="connsiteY18" fmla="*/ 10048 h 3373734"/>
                    <a:gd name="connsiteX19" fmla="*/ 5845628 w 9143161"/>
                    <a:gd name="connsiteY19" fmla="*/ 20934 h 3373734"/>
                    <a:gd name="connsiteX20" fmla="*/ 5050970 w 9143161"/>
                    <a:gd name="connsiteY20" fmla="*/ 53590 h 3373734"/>
                    <a:gd name="connsiteX21" fmla="*/ 5007428 w 9143161"/>
                    <a:gd name="connsiteY21" fmla="*/ 293077 h 3373734"/>
                    <a:gd name="connsiteX22" fmla="*/ 5910942 w 9143161"/>
                    <a:gd name="connsiteY22" fmla="*/ 521677 h 3373734"/>
                    <a:gd name="connsiteX23" fmla="*/ 6822829 w 9143161"/>
                    <a:gd name="connsiteY23" fmla="*/ 694174 h 3373734"/>
                    <a:gd name="connsiteX24" fmla="*/ 6553199 w 9143161"/>
                    <a:gd name="connsiteY24" fmla="*/ 761162 h 3373734"/>
                    <a:gd name="connsiteX25" fmla="*/ 5823856 w 9143161"/>
                    <a:gd name="connsiteY25" fmla="*/ 837362 h 3373734"/>
                    <a:gd name="connsiteX26" fmla="*/ 4920342 w 9143161"/>
                    <a:gd name="connsiteY26" fmla="*/ 924448 h 3373734"/>
                    <a:gd name="connsiteX27" fmla="*/ 3352799 w 9143161"/>
                    <a:gd name="connsiteY27" fmla="*/ 1055077 h 3373734"/>
                    <a:gd name="connsiteX28" fmla="*/ 3243942 w 9143161"/>
                    <a:gd name="connsiteY28" fmla="*/ 1261905 h 3373734"/>
                    <a:gd name="connsiteX29" fmla="*/ 5508170 w 9143161"/>
                    <a:gd name="connsiteY29" fmla="*/ 1817077 h 3373734"/>
                    <a:gd name="connsiteX30" fmla="*/ 5758542 w 9143161"/>
                    <a:gd name="connsiteY30" fmla="*/ 2154534 h 3373734"/>
                    <a:gd name="connsiteX31" fmla="*/ 4125685 w 9143161"/>
                    <a:gd name="connsiteY31" fmla="*/ 2361362 h 3373734"/>
                    <a:gd name="connsiteX32" fmla="*/ 1894113 w 9143161"/>
                    <a:gd name="connsiteY32" fmla="*/ 2426677 h 3373734"/>
                    <a:gd name="connsiteX33" fmla="*/ 0 w 9143161"/>
                    <a:gd name="connsiteY33" fmla="*/ 2448448 h 3373734"/>
                    <a:gd name="connsiteX34" fmla="*/ 0 w 9143161"/>
                    <a:gd name="connsiteY34"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7685313 w 9143161"/>
                    <a:gd name="connsiteY4" fmla="*/ 1936820 h 3373734"/>
                    <a:gd name="connsiteX5" fmla="*/ 7010399 w 9143161"/>
                    <a:gd name="connsiteY5" fmla="*/ 1686448 h 3373734"/>
                    <a:gd name="connsiteX6" fmla="*/ 5649685 w 9143161"/>
                    <a:gd name="connsiteY6" fmla="*/ 1425191 h 3373734"/>
                    <a:gd name="connsiteX7" fmla="*/ 5148942 w 9143161"/>
                    <a:gd name="connsiteY7" fmla="*/ 1305448 h 3373734"/>
                    <a:gd name="connsiteX8" fmla="*/ 5170713 w 9143161"/>
                    <a:gd name="connsiteY8" fmla="*/ 1272791 h 3373734"/>
                    <a:gd name="connsiteX9" fmla="*/ 5682342 w 9143161"/>
                    <a:gd name="connsiteY9" fmla="*/ 1207477 h 3373734"/>
                    <a:gd name="connsiteX10" fmla="*/ 8000998 w 9143161"/>
                    <a:gd name="connsiteY10" fmla="*/ 935334 h 3373734"/>
                    <a:gd name="connsiteX11" fmla="*/ 7754814 w 9143161"/>
                    <a:gd name="connsiteY11" fmla="*/ 612112 h 3373734"/>
                    <a:gd name="connsiteX12" fmla="*/ 6459414 w 9143161"/>
                    <a:gd name="connsiteY12" fmla="*/ 360903 h 3373734"/>
                    <a:gd name="connsiteX13" fmla="*/ 5954485 w 9143161"/>
                    <a:gd name="connsiteY13" fmla="*/ 249534 h 3373734"/>
                    <a:gd name="connsiteX14" fmla="*/ 6585856 w 9143161"/>
                    <a:gd name="connsiteY14" fmla="*/ 260419 h 3373734"/>
                    <a:gd name="connsiteX15" fmla="*/ 9143161 w 9143161"/>
                    <a:gd name="connsiteY15" fmla="*/ 256232 h 3373734"/>
                    <a:gd name="connsiteX16" fmla="*/ 9142325 w 9143161"/>
                    <a:gd name="connsiteY16" fmla="*/ 0 h 3373734"/>
                    <a:gd name="connsiteX17" fmla="*/ 6792685 w 9143161"/>
                    <a:gd name="connsiteY17" fmla="*/ 10048 h 3373734"/>
                    <a:gd name="connsiteX18" fmla="*/ 5845628 w 9143161"/>
                    <a:gd name="connsiteY18" fmla="*/ 20934 h 3373734"/>
                    <a:gd name="connsiteX19" fmla="*/ 5050970 w 9143161"/>
                    <a:gd name="connsiteY19" fmla="*/ 53590 h 3373734"/>
                    <a:gd name="connsiteX20" fmla="*/ 5007428 w 9143161"/>
                    <a:gd name="connsiteY20" fmla="*/ 293077 h 3373734"/>
                    <a:gd name="connsiteX21" fmla="*/ 5910942 w 9143161"/>
                    <a:gd name="connsiteY21" fmla="*/ 521677 h 3373734"/>
                    <a:gd name="connsiteX22" fmla="*/ 6822829 w 9143161"/>
                    <a:gd name="connsiteY22" fmla="*/ 694174 h 3373734"/>
                    <a:gd name="connsiteX23" fmla="*/ 6553199 w 9143161"/>
                    <a:gd name="connsiteY23" fmla="*/ 761162 h 3373734"/>
                    <a:gd name="connsiteX24" fmla="*/ 5823856 w 9143161"/>
                    <a:gd name="connsiteY24" fmla="*/ 837362 h 3373734"/>
                    <a:gd name="connsiteX25" fmla="*/ 4920342 w 9143161"/>
                    <a:gd name="connsiteY25" fmla="*/ 924448 h 3373734"/>
                    <a:gd name="connsiteX26" fmla="*/ 3352799 w 9143161"/>
                    <a:gd name="connsiteY26" fmla="*/ 1055077 h 3373734"/>
                    <a:gd name="connsiteX27" fmla="*/ 3243942 w 9143161"/>
                    <a:gd name="connsiteY27" fmla="*/ 1261905 h 3373734"/>
                    <a:gd name="connsiteX28" fmla="*/ 5508170 w 9143161"/>
                    <a:gd name="connsiteY28" fmla="*/ 1817077 h 3373734"/>
                    <a:gd name="connsiteX29" fmla="*/ 5758542 w 9143161"/>
                    <a:gd name="connsiteY29" fmla="*/ 2154534 h 3373734"/>
                    <a:gd name="connsiteX30" fmla="*/ 4125685 w 9143161"/>
                    <a:gd name="connsiteY30" fmla="*/ 2361362 h 3373734"/>
                    <a:gd name="connsiteX31" fmla="*/ 1894113 w 9143161"/>
                    <a:gd name="connsiteY31" fmla="*/ 2426677 h 3373734"/>
                    <a:gd name="connsiteX32" fmla="*/ 0 w 9143161"/>
                    <a:gd name="connsiteY32" fmla="*/ 2448448 h 3373734"/>
                    <a:gd name="connsiteX33" fmla="*/ 0 w 9143161"/>
                    <a:gd name="connsiteY33"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7685313 w 9143161"/>
                    <a:gd name="connsiteY4" fmla="*/ 1936820 h 3373734"/>
                    <a:gd name="connsiteX5" fmla="*/ 7010399 w 9143161"/>
                    <a:gd name="connsiteY5" fmla="*/ 1686448 h 3373734"/>
                    <a:gd name="connsiteX6" fmla="*/ 5649685 w 9143161"/>
                    <a:gd name="connsiteY6" fmla="*/ 1425191 h 3373734"/>
                    <a:gd name="connsiteX7" fmla="*/ 5148942 w 9143161"/>
                    <a:gd name="connsiteY7" fmla="*/ 1305448 h 3373734"/>
                    <a:gd name="connsiteX8" fmla="*/ 5170713 w 9143161"/>
                    <a:gd name="connsiteY8" fmla="*/ 1272791 h 3373734"/>
                    <a:gd name="connsiteX9" fmla="*/ 5682342 w 9143161"/>
                    <a:gd name="connsiteY9" fmla="*/ 1207477 h 3373734"/>
                    <a:gd name="connsiteX10" fmla="*/ 8000998 w 9143161"/>
                    <a:gd name="connsiteY10" fmla="*/ 935334 h 3373734"/>
                    <a:gd name="connsiteX11" fmla="*/ 7754814 w 9143161"/>
                    <a:gd name="connsiteY11" fmla="*/ 612112 h 3373734"/>
                    <a:gd name="connsiteX12" fmla="*/ 6459414 w 9143161"/>
                    <a:gd name="connsiteY12" fmla="*/ 360903 h 3373734"/>
                    <a:gd name="connsiteX13" fmla="*/ 5954485 w 9143161"/>
                    <a:gd name="connsiteY13" fmla="*/ 249534 h 3373734"/>
                    <a:gd name="connsiteX14" fmla="*/ 6585856 w 9143161"/>
                    <a:gd name="connsiteY14" fmla="*/ 260419 h 3373734"/>
                    <a:gd name="connsiteX15" fmla="*/ 9143161 w 9143161"/>
                    <a:gd name="connsiteY15" fmla="*/ 256232 h 3373734"/>
                    <a:gd name="connsiteX16" fmla="*/ 9142325 w 9143161"/>
                    <a:gd name="connsiteY16" fmla="*/ 0 h 3373734"/>
                    <a:gd name="connsiteX17" fmla="*/ 6792685 w 9143161"/>
                    <a:gd name="connsiteY17" fmla="*/ 10048 h 3373734"/>
                    <a:gd name="connsiteX18" fmla="*/ 5845628 w 9143161"/>
                    <a:gd name="connsiteY18" fmla="*/ 20934 h 3373734"/>
                    <a:gd name="connsiteX19" fmla="*/ 5050970 w 9143161"/>
                    <a:gd name="connsiteY19" fmla="*/ 53590 h 3373734"/>
                    <a:gd name="connsiteX20" fmla="*/ 5007428 w 9143161"/>
                    <a:gd name="connsiteY20" fmla="*/ 293077 h 3373734"/>
                    <a:gd name="connsiteX21" fmla="*/ 5910942 w 9143161"/>
                    <a:gd name="connsiteY21" fmla="*/ 521677 h 3373734"/>
                    <a:gd name="connsiteX22" fmla="*/ 6822829 w 9143161"/>
                    <a:gd name="connsiteY22" fmla="*/ 694174 h 3373734"/>
                    <a:gd name="connsiteX23" fmla="*/ 6553199 w 9143161"/>
                    <a:gd name="connsiteY23" fmla="*/ 761162 h 3373734"/>
                    <a:gd name="connsiteX24" fmla="*/ 5823856 w 9143161"/>
                    <a:gd name="connsiteY24" fmla="*/ 837362 h 3373734"/>
                    <a:gd name="connsiteX25" fmla="*/ 4920342 w 9143161"/>
                    <a:gd name="connsiteY25" fmla="*/ 924448 h 3373734"/>
                    <a:gd name="connsiteX26" fmla="*/ 3352799 w 9143161"/>
                    <a:gd name="connsiteY26" fmla="*/ 1055077 h 3373734"/>
                    <a:gd name="connsiteX27" fmla="*/ 3243942 w 9143161"/>
                    <a:gd name="connsiteY27" fmla="*/ 1261905 h 3373734"/>
                    <a:gd name="connsiteX28" fmla="*/ 5508170 w 9143161"/>
                    <a:gd name="connsiteY28" fmla="*/ 1817077 h 3373734"/>
                    <a:gd name="connsiteX29" fmla="*/ 5758542 w 9143161"/>
                    <a:gd name="connsiteY29" fmla="*/ 2154534 h 3373734"/>
                    <a:gd name="connsiteX30" fmla="*/ 4125685 w 9143161"/>
                    <a:gd name="connsiteY30" fmla="*/ 2361362 h 3373734"/>
                    <a:gd name="connsiteX31" fmla="*/ 1894113 w 9143161"/>
                    <a:gd name="connsiteY31" fmla="*/ 2426677 h 3373734"/>
                    <a:gd name="connsiteX32" fmla="*/ 0 w 9143161"/>
                    <a:gd name="connsiteY32" fmla="*/ 2448448 h 3373734"/>
                    <a:gd name="connsiteX33" fmla="*/ 0 w 9143161"/>
                    <a:gd name="connsiteY33"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7685313 w 9143161"/>
                    <a:gd name="connsiteY4" fmla="*/ 1936820 h 3373734"/>
                    <a:gd name="connsiteX5" fmla="*/ 7010399 w 9143161"/>
                    <a:gd name="connsiteY5" fmla="*/ 1686448 h 3373734"/>
                    <a:gd name="connsiteX6" fmla="*/ 5649685 w 9143161"/>
                    <a:gd name="connsiteY6" fmla="*/ 1425191 h 3373734"/>
                    <a:gd name="connsiteX7" fmla="*/ 5148942 w 9143161"/>
                    <a:gd name="connsiteY7" fmla="*/ 1305448 h 3373734"/>
                    <a:gd name="connsiteX8" fmla="*/ 5170713 w 9143161"/>
                    <a:gd name="connsiteY8" fmla="*/ 1272791 h 3373734"/>
                    <a:gd name="connsiteX9" fmla="*/ 5682342 w 9143161"/>
                    <a:gd name="connsiteY9" fmla="*/ 1207477 h 3373734"/>
                    <a:gd name="connsiteX10" fmla="*/ 8000998 w 9143161"/>
                    <a:gd name="connsiteY10" fmla="*/ 935334 h 3373734"/>
                    <a:gd name="connsiteX11" fmla="*/ 7754814 w 9143161"/>
                    <a:gd name="connsiteY11" fmla="*/ 612112 h 3373734"/>
                    <a:gd name="connsiteX12" fmla="*/ 6459414 w 9143161"/>
                    <a:gd name="connsiteY12" fmla="*/ 360903 h 3373734"/>
                    <a:gd name="connsiteX13" fmla="*/ 5954485 w 9143161"/>
                    <a:gd name="connsiteY13" fmla="*/ 249534 h 3373734"/>
                    <a:gd name="connsiteX14" fmla="*/ 6585856 w 9143161"/>
                    <a:gd name="connsiteY14" fmla="*/ 260419 h 3373734"/>
                    <a:gd name="connsiteX15" fmla="*/ 9143161 w 9143161"/>
                    <a:gd name="connsiteY15" fmla="*/ 256232 h 3373734"/>
                    <a:gd name="connsiteX16" fmla="*/ 9142325 w 9143161"/>
                    <a:gd name="connsiteY16" fmla="*/ 0 h 3373734"/>
                    <a:gd name="connsiteX17" fmla="*/ 6792685 w 9143161"/>
                    <a:gd name="connsiteY17" fmla="*/ 10048 h 3373734"/>
                    <a:gd name="connsiteX18" fmla="*/ 5845628 w 9143161"/>
                    <a:gd name="connsiteY18" fmla="*/ 20934 h 3373734"/>
                    <a:gd name="connsiteX19" fmla="*/ 5050970 w 9143161"/>
                    <a:gd name="connsiteY19" fmla="*/ 53590 h 3373734"/>
                    <a:gd name="connsiteX20" fmla="*/ 5007428 w 9143161"/>
                    <a:gd name="connsiteY20" fmla="*/ 293077 h 3373734"/>
                    <a:gd name="connsiteX21" fmla="*/ 5910942 w 9143161"/>
                    <a:gd name="connsiteY21" fmla="*/ 521677 h 3373734"/>
                    <a:gd name="connsiteX22" fmla="*/ 6822829 w 9143161"/>
                    <a:gd name="connsiteY22" fmla="*/ 694174 h 3373734"/>
                    <a:gd name="connsiteX23" fmla="*/ 6553199 w 9143161"/>
                    <a:gd name="connsiteY23" fmla="*/ 761162 h 3373734"/>
                    <a:gd name="connsiteX24" fmla="*/ 5823856 w 9143161"/>
                    <a:gd name="connsiteY24" fmla="*/ 837362 h 3373734"/>
                    <a:gd name="connsiteX25" fmla="*/ 4920342 w 9143161"/>
                    <a:gd name="connsiteY25" fmla="*/ 924448 h 3373734"/>
                    <a:gd name="connsiteX26" fmla="*/ 3352799 w 9143161"/>
                    <a:gd name="connsiteY26" fmla="*/ 1055077 h 3373734"/>
                    <a:gd name="connsiteX27" fmla="*/ 3243942 w 9143161"/>
                    <a:gd name="connsiteY27" fmla="*/ 1261905 h 3373734"/>
                    <a:gd name="connsiteX28" fmla="*/ 5508170 w 9143161"/>
                    <a:gd name="connsiteY28" fmla="*/ 1817077 h 3373734"/>
                    <a:gd name="connsiteX29" fmla="*/ 5758542 w 9143161"/>
                    <a:gd name="connsiteY29" fmla="*/ 2154534 h 3373734"/>
                    <a:gd name="connsiteX30" fmla="*/ 4125685 w 9143161"/>
                    <a:gd name="connsiteY30" fmla="*/ 2361362 h 3373734"/>
                    <a:gd name="connsiteX31" fmla="*/ 1894113 w 9143161"/>
                    <a:gd name="connsiteY31" fmla="*/ 2426677 h 3373734"/>
                    <a:gd name="connsiteX32" fmla="*/ 0 w 9143161"/>
                    <a:gd name="connsiteY32" fmla="*/ 2448448 h 3373734"/>
                    <a:gd name="connsiteX33" fmla="*/ 0 w 9143161"/>
                    <a:gd name="connsiteY33"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7685313 w 9143161"/>
                    <a:gd name="connsiteY4" fmla="*/ 1936820 h 3373734"/>
                    <a:gd name="connsiteX5" fmla="*/ 7010399 w 9143161"/>
                    <a:gd name="connsiteY5" fmla="*/ 1686448 h 3373734"/>
                    <a:gd name="connsiteX6" fmla="*/ 5649685 w 9143161"/>
                    <a:gd name="connsiteY6" fmla="*/ 1425191 h 3373734"/>
                    <a:gd name="connsiteX7" fmla="*/ 5148942 w 9143161"/>
                    <a:gd name="connsiteY7" fmla="*/ 1305448 h 3373734"/>
                    <a:gd name="connsiteX8" fmla="*/ 5170713 w 9143161"/>
                    <a:gd name="connsiteY8" fmla="*/ 1272791 h 3373734"/>
                    <a:gd name="connsiteX9" fmla="*/ 5682342 w 9143161"/>
                    <a:gd name="connsiteY9" fmla="*/ 1207477 h 3373734"/>
                    <a:gd name="connsiteX10" fmla="*/ 8000998 w 9143161"/>
                    <a:gd name="connsiteY10" fmla="*/ 935334 h 3373734"/>
                    <a:gd name="connsiteX11" fmla="*/ 7754814 w 9143161"/>
                    <a:gd name="connsiteY11" fmla="*/ 612112 h 3373734"/>
                    <a:gd name="connsiteX12" fmla="*/ 6459414 w 9143161"/>
                    <a:gd name="connsiteY12" fmla="*/ 360903 h 3373734"/>
                    <a:gd name="connsiteX13" fmla="*/ 5954485 w 9143161"/>
                    <a:gd name="connsiteY13" fmla="*/ 249534 h 3373734"/>
                    <a:gd name="connsiteX14" fmla="*/ 6585856 w 9143161"/>
                    <a:gd name="connsiteY14" fmla="*/ 260419 h 3373734"/>
                    <a:gd name="connsiteX15" fmla="*/ 9143161 w 9143161"/>
                    <a:gd name="connsiteY15" fmla="*/ 256232 h 3373734"/>
                    <a:gd name="connsiteX16" fmla="*/ 9142325 w 9143161"/>
                    <a:gd name="connsiteY16" fmla="*/ 0 h 3373734"/>
                    <a:gd name="connsiteX17" fmla="*/ 6792685 w 9143161"/>
                    <a:gd name="connsiteY17" fmla="*/ 10048 h 3373734"/>
                    <a:gd name="connsiteX18" fmla="*/ 5845628 w 9143161"/>
                    <a:gd name="connsiteY18" fmla="*/ 20934 h 3373734"/>
                    <a:gd name="connsiteX19" fmla="*/ 5050970 w 9143161"/>
                    <a:gd name="connsiteY19" fmla="*/ 53590 h 3373734"/>
                    <a:gd name="connsiteX20" fmla="*/ 5007428 w 9143161"/>
                    <a:gd name="connsiteY20" fmla="*/ 293077 h 3373734"/>
                    <a:gd name="connsiteX21" fmla="*/ 5910942 w 9143161"/>
                    <a:gd name="connsiteY21" fmla="*/ 521677 h 3373734"/>
                    <a:gd name="connsiteX22" fmla="*/ 6822829 w 9143161"/>
                    <a:gd name="connsiteY22" fmla="*/ 694174 h 3373734"/>
                    <a:gd name="connsiteX23" fmla="*/ 6553199 w 9143161"/>
                    <a:gd name="connsiteY23" fmla="*/ 761162 h 3373734"/>
                    <a:gd name="connsiteX24" fmla="*/ 5823856 w 9143161"/>
                    <a:gd name="connsiteY24" fmla="*/ 837362 h 3373734"/>
                    <a:gd name="connsiteX25" fmla="*/ 4920342 w 9143161"/>
                    <a:gd name="connsiteY25" fmla="*/ 924448 h 3373734"/>
                    <a:gd name="connsiteX26" fmla="*/ 3352799 w 9143161"/>
                    <a:gd name="connsiteY26" fmla="*/ 1055077 h 3373734"/>
                    <a:gd name="connsiteX27" fmla="*/ 3243942 w 9143161"/>
                    <a:gd name="connsiteY27" fmla="*/ 1261905 h 3373734"/>
                    <a:gd name="connsiteX28" fmla="*/ 5508170 w 9143161"/>
                    <a:gd name="connsiteY28" fmla="*/ 1817077 h 3373734"/>
                    <a:gd name="connsiteX29" fmla="*/ 5758542 w 9143161"/>
                    <a:gd name="connsiteY29" fmla="*/ 2154534 h 3373734"/>
                    <a:gd name="connsiteX30" fmla="*/ 4125685 w 9143161"/>
                    <a:gd name="connsiteY30" fmla="*/ 2361362 h 3373734"/>
                    <a:gd name="connsiteX31" fmla="*/ 1894113 w 9143161"/>
                    <a:gd name="connsiteY31" fmla="*/ 2426677 h 3373734"/>
                    <a:gd name="connsiteX32" fmla="*/ 0 w 9143161"/>
                    <a:gd name="connsiteY32" fmla="*/ 2448448 h 3373734"/>
                    <a:gd name="connsiteX33" fmla="*/ 0 w 9143161"/>
                    <a:gd name="connsiteY33"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7685313 w 9143161"/>
                    <a:gd name="connsiteY4" fmla="*/ 1936820 h 3373734"/>
                    <a:gd name="connsiteX5" fmla="*/ 5649685 w 9143161"/>
                    <a:gd name="connsiteY5" fmla="*/ 1425191 h 3373734"/>
                    <a:gd name="connsiteX6" fmla="*/ 5148942 w 9143161"/>
                    <a:gd name="connsiteY6" fmla="*/ 1305448 h 3373734"/>
                    <a:gd name="connsiteX7" fmla="*/ 5170713 w 9143161"/>
                    <a:gd name="connsiteY7" fmla="*/ 1272791 h 3373734"/>
                    <a:gd name="connsiteX8" fmla="*/ 5682342 w 9143161"/>
                    <a:gd name="connsiteY8" fmla="*/ 1207477 h 3373734"/>
                    <a:gd name="connsiteX9" fmla="*/ 8000998 w 9143161"/>
                    <a:gd name="connsiteY9" fmla="*/ 935334 h 3373734"/>
                    <a:gd name="connsiteX10" fmla="*/ 7754814 w 9143161"/>
                    <a:gd name="connsiteY10" fmla="*/ 612112 h 3373734"/>
                    <a:gd name="connsiteX11" fmla="*/ 6459414 w 9143161"/>
                    <a:gd name="connsiteY11" fmla="*/ 360903 h 3373734"/>
                    <a:gd name="connsiteX12" fmla="*/ 5954485 w 9143161"/>
                    <a:gd name="connsiteY12" fmla="*/ 249534 h 3373734"/>
                    <a:gd name="connsiteX13" fmla="*/ 6585856 w 9143161"/>
                    <a:gd name="connsiteY13" fmla="*/ 260419 h 3373734"/>
                    <a:gd name="connsiteX14" fmla="*/ 9143161 w 9143161"/>
                    <a:gd name="connsiteY14" fmla="*/ 256232 h 3373734"/>
                    <a:gd name="connsiteX15" fmla="*/ 9142325 w 9143161"/>
                    <a:gd name="connsiteY15" fmla="*/ 0 h 3373734"/>
                    <a:gd name="connsiteX16" fmla="*/ 6792685 w 9143161"/>
                    <a:gd name="connsiteY16" fmla="*/ 10048 h 3373734"/>
                    <a:gd name="connsiteX17" fmla="*/ 5845628 w 9143161"/>
                    <a:gd name="connsiteY17" fmla="*/ 20934 h 3373734"/>
                    <a:gd name="connsiteX18" fmla="*/ 5050970 w 9143161"/>
                    <a:gd name="connsiteY18" fmla="*/ 53590 h 3373734"/>
                    <a:gd name="connsiteX19" fmla="*/ 5007428 w 9143161"/>
                    <a:gd name="connsiteY19" fmla="*/ 293077 h 3373734"/>
                    <a:gd name="connsiteX20" fmla="*/ 5910942 w 9143161"/>
                    <a:gd name="connsiteY20" fmla="*/ 521677 h 3373734"/>
                    <a:gd name="connsiteX21" fmla="*/ 6822829 w 9143161"/>
                    <a:gd name="connsiteY21" fmla="*/ 694174 h 3373734"/>
                    <a:gd name="connsiteX22" fmla="*/ 6553199 w 9143161"/>
                    <a:gd name="connsiteY22" fmla="*/ 761162 h 3373734"/>
                    <a:gd name="connsiteX23" fmla="*/ 5823856 w 9143161"/>
                    <a:gd name="connsiteY23" fmla="*/ 837362 h 3373734"/>
                    <a:gd name="connsiteX24" fmla="*/ 4920342 w 9143161"/>
                    <a:gd name="connsiteY24" fmla="*/ 924448 h 3373734"/>
                    <a:gd name="connsiteX25" fmla="*/ 3352799 w 9143161"/>
                    <a:gd name="connsiteY25" fmla="*/ 1055077 h 3373734"/>
                    <a:gd name="connsiteX26" fmla="*/ 3243942 w 9143161"/>
                    <a:gd name="connsiteY26" fmla="*/ 1261905 h 3373734"/>
                    <a:gd name="connsiteX27" fmla="*/ 5508170 w 9143161"/>
                    <a:gd name="connsiteY27" fmla="*/ 1817077 h 3373734"/>
                    <a:gd name="connsiteX28" fmla="*/ 5758542 w 9143161"/>
                    <a:gd name="connsiteY28" fmla="*/ 2154534 h 3373734"/>
                    <a:gd name="connsiteX29" fmla="*/ 4125685 w 9143161"/>
                    <a:gd name="connsiteY29" fmla="*/ 2361362 h 3373734"/>
                    <a:gd name="connsiteX30" fmla="*/ 1894113 w 9143161"/>
                    <a:gd name="connsiteY30" fmla="*/ 2426677 h 3373734"/>
                    <a:gd name="connsiteX31" fmla="*/ 0 w 9143161"/>
                    <a:gd name="connsiteY31" fmla="*/ 2448448 h 3373734"/>
                    <a:gd name="connsiteX32" fmla="*/ 0 w 9143161"/>
                    <a:gd name="connsiteY32"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170713 w 9143161"/>
                    <a:gd name="connsiteY7" fmla="*/ 1272791 h 3373734"/>
                    <a:gd name="connsiteX8" fmla="*/ 5682342 w 9143161"/>
                    <a:gd name="connsiteY8" fmla="*/ 1207477 h 3373734"/>
                    <a:gd name="connsiteX9" fmla="*/ 8000998 w 9143161"/>
                    <a:gd name="connsiteY9" fmla="*/ 935334 h 3373734"/>
                    <a:gd name="connsiteX10" fmla="*/ 7754814 w 9143161"/>
                    <a:gd name="connsiteY10" fmla="*/ 612112 h 3373734"/>
                    <a:gd name="connsiteX11" fmla="*/ 6459414 w 9143161"/>
                    <a:gd name="connsiteY11" fmla="*/ 360903 h 3373734"/>
                    <a:gd name="connsiteX12" fmla="*/ 5954485 w 9143161"/>
                    <a:gd name="connsiteY12" fmla="*/ 249534 h 3373734"/>
                    <a:gd name="connsiteX13" fmla="*/ 6585856 w 9143161"/>
                    <a:gd name="connsiteY13" fmla="*/ 260419 h 3373734"/>
                    <a:gd name="connsiteX14" fmla="*/ 9143161 w 9143161"/>
                    <a:gd name="connsiteY14" fmla="*/ 256232 h 3373734"/>
                    <a:gd name="connsiteX15" fmla="*/ 9142325 w 9143161"/>
                    <a:gd name="connsiteY15" fmla="*/ 0 h 3373734"/>
                    <a:gd name="connsiteX16" fmla="*/ 6792685 w 9143161"/>
                    <a:gd name="connsiteY16" fmla="*/ 10048 h 3373734"/>
                    <a:gd name="connsiteX17" fmla="*/ 5845628 w 9143161"/>
                    <a:gd name="connsiteY17" fmla="*/ 20934 h 3373734"/>
                    <a:gd name="connsiteX18" fmla="*/ 5050970 w 9143161"/>
                    <a:gd name="connsiteY18" fmla="*/ 53590 h 3373734"/>
                    <a:gd name="connsiteX19" fmla="*/ 5007428 w 9143161"/>
                    <a:gd name="connsiteY19" fmla="*/ 293077 h 3373734"/>
                    <a:gd name="connsiteX20" fmla="*/ 5910942 w 9143161"/>
                    <a:gd name="connsiteY20" fmla="*/ 521677 h 3373734"/>
                    <a:gd name="connsiteX21" fmla="*/ 6822829 w 9143161"/>
                    <a:gd name="connsiteY21" fmla="*/ 694174 h 3373734"/>
                    <a:gd name="connsiteX22" fmla="*/ 6553199 w 9143161"/>
                    <a:gd name="connsiteY22" fmla="*/ 761162 h 3373734"/>
                    <a:gd name="connsiteX23" fmla="*/ 5823856 w 9143161"/>
                    <a:gd name="connsiteY23" fmla="*/ 837362 h 3373734"/>
                    <a:gd name="connsiteX24" fmla="*/ 4920342 w 9143161"/>
                    <a:gd name="connsiteY24" fmla="*/ 924448 h 3373734"/>
                    <a:gd name="connsiteX25" fmla="*/ 3352799 w 9143161"/>
                    <a:gd name="connsiteY25" fmla="*/ 1055077 h 3373734"/>
                    <a:gd name="connsiteX26" fmla="*/ 3243942 w 9143161"/>
                    <a:gd name="connsiteY26" fmla="*/ 1261905 h 3373734"/>
                    <a:gd name="connsiteX27" fmla="*/ 5508170 w 9143161"/>
                    <a:gd name="connsiteY27" fmla="*/ 1817077 h 3373734"/>
                    <a:gd name="connsiteX28" fmla="*/ 5758542 w 9143161"/>
                    <a:gd name="connsiteY28" fmla="*/ 2154534 h 3373734"/>
                    <a:gd name="connsiteX29" fmla="*/ 4125685 w 9143161"/>
                    <a:gd name="connsiteY29" fmla="*/ 2361362 h 3373734"/>
                    <a:gd name="connsiteX30" fmla="*/ 1894113 w 9143161"/>
                    <a:gd name="connsiteY30" fmla="*/ 2426677 h 3373734"/>
                    <a:gd name="connsiteX31" fmla="*/ 0 w 9143161"/>
                    <a:gd name="connsiteY31" fmla="*/ 2448448 h 3373734"/>
                    <a:gd name="connsiteX32" fmla="*/ 0 w 9143161"/>
                    <a:gd name="connsiteY32"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170713 w 9143161"/>
                    <a:gd name="connsiteY7" fmla="*/ 1272791 h 3373734"/>
                    <a:gd name="connsiteX8" fmla="*/ 5682342 w 9143161"/>
                    <a:gd name="connsiteY8" fmla="*/ 1207477 h 3373734"/>
                    <a:gd name="connsiteX9" fmla="*/ 8000998 w 9143161"/>
                    <a:gd name="connsiteY9" fmla="*/ 935334 h 3373734"/>
                    <a:gd name="connsiteX10" fmla="*/ 7754814 w 9143161"/>
                    <a:gd name="connsiteY10" fmla="*/ 612112 h 3373734"/>
                    <a:gd name="connsiteX11" fmla="*/ 6459414 w 9143161"/>
                    <a:gd name="connsiteY11" fmla="*/ 360903 h 3373734"/>
                    <a:gd name="connsiteX12" fmla="*/ 5954485 w 9143161"/>
                    <a:gd name="connsiteY12" fmla="*/ 249534 h 3373734"/>
                    <a:gd name="connsiteX13" fmla="*/ 6585856 w 9143161"/>
                    <a:gd name="connsiteY13" fmla="*/ 260419 h 3373734"/>
                    <a:gd name="connsiteX14" fmla="*/ 9143161 w 9143161"/>
                    <a:gd name="connsiteY14" fmla="*/ 256232 h 3373734"/>
                    <a:gd name="connsiteX15" fmla="*/ 9142325 w 9143161"/>
                    <a:gd name="connsiteY15" fmla="*/ 0 h 3373734"/>
                    <a:gd name="connsiteX16" fmla="*/ 6792685 w 9143161"/>
                    <a:gd name="connsiteY16" fmla="*/ 10048 h 3373734"/>
                    <a:gd name="connsiteX17" fmla="*/ 5845628 w 9143161"/>
                    <a:gd name="connsiteY17" fmla="*/ 20934 h 3373734"/>
                    <a:gd name="connsiteX18" fmla="*/ 5050970 w 9143161"/>
                    <a:gd name="connsiteY18" fmla="*/ 53590 h 3373734"/>
                    <a:gd name="connsiteX19" fmla="*/ 5007428 w 9143161"/>
                    <a:gd name="connsiteY19" fmla="*/ 293077 h 3373734"/>
                    <a:gd name="connsiteX20" fmla="*/ 5910942 w 9143161"/>
                    <a:gd name="connsiteY20" fmla="*/ 521677 h 3373734"/>
                    <a:gd name="connsiteX21" fmla="*/ 6822829 w 9143161"/>
                    <a:gd name="connsiteY21" fmla="*/ 694174 h 3373734"/>
                    <a:gd name="connsiteX22" fmla="*/ 6553199 w 9143161"/>
                    <a:gd name="connsiteY22" fmla="*/ 761162 h 3373734"/>
                    <a:gd name="connsiteX23" fmla="*/ 5823856 w 9143161"/>
                    <a:gd name="connsiteY23" fmla="*/ 837362 h 3373734"/>
                    <a:gd name="connsiteX24" fmla="*/ 4920342 w 9143161"/>
                    <a:gd name="connsiteY24" fmla="*/ 924448 h 3373734"/>
                    <a:gd name="connsiteX25" fmla="*/ 3352799 w 9143161"/>
                    <a:gd name="connsiteY25" fmla="*/ 1055077 h 3373734"/>
                    <a:gd name="connsiteX26" fmla="*/ 3243942 w 9143161"/>
                    <a:gd name="connsiteY26" fmla="*/ 1261905 h 3373734"/>
                    <a:gd name="connsiteX27" fmla="*/ 5508170 w 9143161"/>
                    <a:gd name="connsiteY27" fmla="*/ 1817077 h 3373734"/>
                    <a:gd name="connsiteX28" fmla="*/ 5758542 w 9143161"/>
                    <a:gd name="connsiteY28" fmla="*/ 2154534 h 3373734"/>
                    <a:gd name="connsiteX29" fmla="*/ 4125685 w 9143161"/>
                    <a:gd name="connsiteY29" fmla="*/ 2361362 h 3373734"/>
                    <a:gd name="connsiteX30" fmla="*/ 1894113 w 9143161"/>
                    <a:gd name="connsiteY30" fmla="*/ 2426677 h 3373734"/>
                    <a:gd name="connsiteX31" fmla="*/ 0 w 9143161"/>
                    <a:gd name="connsiteY31" fmla="*/ 2448448 h 3373734"/>
                    <a:gd name="connsiteX32" fmla="*/ 0 w 9143161"/>
                    <a:gd name="connsiteY32"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170713 w 9143161"/>
                    <a:gd name="connsiteY7" fmla="*/ 1272791 h 3373734"/>
                    <a:gd name="connsiteX8" fmla="*/ 5682342 w 9143161"/>
                    <a:gd name="connsiteY8" fmla="*/ 1207477 h 3373734"/>
                    <a:gd name="connsiteX9" fmla="*/ 8000998 w 9143161"/>
                    <a:gd name="connsiteY9" fmla="*/ 935334 h 3373734"/>
                    <a:gd name="connsiteX10" fmla="*/ 7754814 w 9143161"/>
                    <a:gd name="connsiteY10" fmla="*/ 612112 h 3373734"/>
                    <a:gd name="connsiteX11" fmla="*/ 6459414 w 9143161"/>
                    <a:gd name="connsiteY11" fmla="*/ 360903 h 3373734"/>
                    <a:gd name="connsiteX12" fmla="*/ 5954485 w 9143161"/>
                    <a:gd name="connsiteY12" fmla="*/ 249534 h 3373734"/>
                    <a:gd name="connsiteX13" fmla="*/ 6585856 w 9143161"/>
                    <a:gd name="connsiteY13" fmla="*/ 260419 h 3373734"/>
                    <a:gd name="connsiteX14" fmla="*/ 9143161 w 9143161"/>
                    <a:gd name="connsiteY14" fmla="*/ 256232 h 3373734"/>
                    <a:gd name="connsiteX15" fmla="*/ 9142325 w 9143161"/>
                    <a:gd name="connsiteY15" fmla="*/ 0 h 3373734"/>
                    <a:gd name="connsiteX16" fmla="*/ 6792685 w 9143161"/>
                    <a:gd name="connsiteY16" fmla="*/ 10048 h 3373734"/>
                    <a:gd name="connsiteX17" fmla="*/ 5845628 w 9143161"/>
                    <a:gd name="connsiteY17" fmla="*/ 20934 h 3373734"/>
                    <a:gd name="connsiteX18" fmla="*/ 5050970 w 9143161"/>
                    <a:gd name="connsiteY18" fmla="*/ 53590 h 3373734"/>
                    <a:gd name="connsiteX19" fmla="*/ 5007428 w 9143161"/>
                    <a:gd name="connsiteY19" fmla="*/ 293077 h 3373734"/>
                    <a:gd name="connsiteX20" fmla="*/ 5910942 w 9143161"/>
                    <a:gd name="connsiteY20" fmla="*/ 521677 h 3373734"/>
                    <a:gd name="connsiteX21" fmla="*/ 6822829 w 9143161"/>
                    <a:gd name="connsiteY21" fmla="*/ 694174 h 3373734"/>
                    <a:gd name="connsiteX22" fmla="*/ 6553199 w 9143161"/>
                    <a:gd name="connsiteY22" fmla="*/ 761162 h 3373734"/>
                    <a:gd name="connsiteX23" fmla="*/ 5823856 w 9143161"/>
                    <a:gd name="connsiteY23" fmla="*/ 837362 h 3373734"/>
                    <a:gd name="connsiteX24" fmla="*/ 4920342 w 9143161"/>
                    <a:gd name="connsiteY24" fmla="*/ 924448 h 3373734"/>
                    <a:gd name="connsiteX25" fmla="*/ 3352799 w 9143161"/>
                    <a:gd name="connsiteY25" fmla="*/ 1055077 h 3373734"/>
                    <a:gd name="connsiteX26" fmla="*/ 3243942 w 9143161"/>
                    <a:gd name="connsiteY26" fmla="*/ 1261905 h 3373734"/>
                    <a:gd name="connsiteX27" fmla="*/ 5508170 w 9143161"/>
                    <a:gd name="connsiteY27" fmla="*/ 1817077 h 3373734"/>
                    <a:gd name="connsiteX28" fmla="*/ 5758542 w 9143161"/>
                    <a:gd name="connsiteY28" fmla="*/ 2154534 h 3373734"/>
                    <a:gd name="connsiteX29" fmla="*/ 4125685 w 9143161"/>
                    <a:gd name="connsiteY29" fmla="*/ 2361362 h 3373734"/>
                    <a:gd name="connsiteX30" fmla="*/ 1894113 w 9143161"/>
                    <a:gd name="connsiteY30" fmla="*/ 2426677 h 3373734"/>
                    <a:gd name="connsiteX31" fmla="*/ 0 w 9143161"/>
                    <a:gd name="connsiteY31" fmla="*/ 2448448 h 3373734"/>
                    <a:gd name="connsiteX32" fmla="*/ 0 w 9143161"/>
                    <a:gd name="connsiteY32"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612112 h 3373734"/>
                    <a:gd name="connsiteX10" fmla="*/ 6459414 w 9143161"/>
                    <a:gd name="connsiteY10" fmla="*/ 360903 h 3373734"/>
                    <a:gd name="connsiteX11" fmla="*/ 5954485 w 9143161"/>
                    <a:gd name="connsiteY11" fmla="*/ 249534 h 3373734"/>
                    <a:gd name="connsiteX12" fmla="*/ 6585856 w 9143161"/>
                    <a:gd name="connsiteY12" fmla="*/ 260419 h 3373734"/>
                    <a:gd name="connsiteX13" fmla="*/ 9143161 w 9143161"/>
                    <a:gd name="connsiteY13" fmla="*/ 256232 h 3373734"/>
                    <a:gd name="connsiteX14" fmla="*/ 9142325 w 9143161"/>
                    <a:gd name="connsiteY14" fmla="*/ 0 h 3373734"/>
                    <a:gd name="connsiteX15" fmla="*/ 6792685 w 9143161"/>
                    <a:gd name="connsiteY15" fmla="*/ 10048 h 3373734"/>
                    <a:gd name="connsiteX16" fmla="*/ 5845628 w 9143161"/>
                    <a:gd name="connsiteY16" fmla="*/ 20934 h 3373734"/>
                    <a:gd name="connsiteX17" fmla="*/ 5050970 w 9143161"/>
                    <a:gd name="connsiteY17" fmla="*/ 53590 h 3373734"/>
                    <a:gd name="connsiteX18" fmla="*/ 5007428 w 9143161"/>
                    <a:gd name="connsiteY18" fmla="*/ 293077 h 3373734"/>
                    <a:gd name="connsiteX19" fmla="*/ 5910942 w 9143161"/>
                    <a:gd name="connsiteY19" fmla="*/ 521677 h 3373734"/>
                    <a:gd name="connsiteX20" fmla="*/ 6822829 w 9143161"/>
                    <a:gd name="connsiteY20" fmla="*/ 694174 h 3373734"/>
                    <a:gd name="connsiteX21" fmla="*/ 6553199 w 9143161"/>
                    <a:gd name="connsiteY21" fmla="*/ 761162 h 3373734"/>
                    <a:gd name="connsiteX22" fmla="*/ 5823856 w 9143161"/>
                    <a:gd name="connsiteY22" fmla="*/ 837362 h 3373734"/>
                    <a:gd name="connsiteX23" fmla="*/ 4920342 w 9143161"/>
                    <a:gd name="connsiteY23" fmla="*/ 924448 h 3373734"/>
                    <a:gd name="connsiteX24" fmla="*/ 3352799 w 9143161"/>
                    <a:gd name="connsiteY24" fmla="*/ 1055077 h 3373734"/>
                    <a:gd name="connsiteX25" fmla="*/ 3243942 w 9143161"/>
                    <a:gd name="connsiteY25" fmla="*/ 1261905 h 3373734"/>
                    <a:gd name="connsiteX26" fmla="*/ 5508170 w 9143161"/>
                    <a:gd name="connsiteY26" fmla="*/ 1817077 h 3373734"/>
                    <a:gd name="connsiteX27" fmla="*/ 5758542 w 9143161"/>
                    <a:gd name="connsiteY27" fmla="*/ 2154534 h 3373734"/>
                    <a:gd name="connsiteX28" fmla="*/ 4125685 w 9143161"/>
                    <a:gd name="connsiteY28" fmla="*/ 2361362 h 3373734"/>
                    <a:gd name="connsiteX29" fmla="*/ 1894113 w 9143161"/>
                    <a:gd name="connsiteY29" fmla="*/ 2426677 h 3373734"/>
                    <a:gd name="connsiteX30" fmla="*/ 0 w 9143161"/>
                    <a:gd name="connsiteY30" fmla="*/ 2448448 h 3373734"/>
                    <a:gd name="connsiteX31" fmla="*/ 0 w 9143161"/>
                    <a:gd name="connsiteY31"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612112 h 3373734"/>
                    <a:gd name="connsiteX10" fmla="*/ 5954485 w 9143161"/>
                    <a:gd name="connsiteY10" fmla="*/ 249534 h 3373734"/>
                    <a:gd name="connsiteX11" fmla="*/ 6585856 w 9143161"/>
                    <a:gd name="connsiteY11" fmla="*/ 260419 h 3373734"/>
                    <a:gd name="connsiteX12" fmla="*/ 9143161 w 9143161"/>
                    <a:gd name="connsiteY12" fmla="*/ 256232 h 3373734"/>
                    <a:gd name="connsiteX13" fmla="*/ 9142325 w 9143161"/>
                    <a:gd name="connsiteY13" fmla="*/ 0 h 3373734"/>
                    <a:gd name="connsiteX14" fmla="*/ 6792685 w 9143161"/>
                    <a:gd name="connsiteY14" fmla="*/ 10048 h 3373734"/>
                    <a:gd name="connsiteX15" fmla="*/ 5845628 w 9143161"/>
                    <a:gd name="connsiteY15" fmla="*/ 20934 h 3373734"/>
                    <a:gd name="connsiteX16" fmla="*/ 5050970 w 9143161"/>
                    <a:gd name="connsiteY16" fmla="*/ 53590 h 3373734"/>
                    <a:gd name="connsiteX17" fmla="*/ 5007428 w 9143161"/>
                    <a:gd name="connsiteY17" fmla="*/ 293077 h 3373734"/>
                    <a:gd name="connsiteX18" fmla="*/ 5910942 w 9143161"/>
                    <a:gd name="connsiteY18" fmla="*/ 521677 h 3373734"/>
                    <a:gd name="connsiteX19" fmla="*/ 6822829 w 9143161"/>
                    <a:gd name="connsiteY19" fmla="*/ 694174 h 3373734"/>
                    <a:gd name="connsiteX20" fmla="*/ 6553199 w 9143161"/>
                    <a:gd name="connsiteY20" fmla="*/ 761162 h 3373734"/>
                    <a:gd name="connsiteX21" fmla="*/ 5823856 w 9143161"/>
                    <a:gd name="connsiteY21" fmla="*/ 837362 h 3373734"/>
                    <a:gd name="connsiteX22" fmla="*/ 4920342 w 9143161"/>
                    <a:gd name="connsiteY22" fmla="*/ 924448 h 3373734"/>
                    <a:gd name="connsiteX23" fmla="*/ 3352799 w 9143161"/>
                    <a:gd name="connsiteY23" fmla="*/ 1055077 h 3373734"/>
                    <a:gd name="connsiteX24" fmla="*/ 3243942 w 9143161"/>
                    <a:gd name="connsiteY24" fmla="*/ 1261905 h 3373734"/>
                    <a:gd name="connsiteX25" fmla="*/ 5508170 w 9143161"/>
                    <a:gd name="connsiteY25" fmla="*/ 1817077 h 3373734"/>
                    <a:gd name="connsiteX26" fmla="*/ 5758542 w 9143161"/>
                    <a:gd name="connsiteY26" fmla="*/ 2154534 h 3373734"/>
                    <a:gd name="connsiteX27" fmla="*/ 4125685 w 9143161"/>
                    <a:gd name="connsiteY27" fmla="*/ 2361362 h 3373734"/>
                    <a:gd name="connsiteX28" fmla="*/ 1894113 w 9143161"/>
                    <a:gd name="connsiteY28" fmla="*/ 2426677 h 3373734"/>
                    <a:gd name="connsiteX29" fmla="*/ 0 w 9143161"/>
                    <a:gd name="connsiteY29" fmla="*/ 2448448 h 3373734"/>
                    <a:gd name="connsiteX30" fmla="*/ 0 w 9143161"/>
                    <a:gd name="connsiteY30"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579455 h 3373734"/>
                    <a:gd name="connsiteX10" fmla="*/ 5954485 w 9143161"/>
                    <a:gd name="connsiteY10" fmla="*/ 249534 h 3373734"/>
                    <a:gd name="connsiteX11" fmla="*/ 6585856 w 9143161"/>
                    <a:gd name="connsiteY11" fmla="*/ 260419 h 3373734"/>
                    <a:gd name="connsiteX12" fmla="*/ 9143161 w 9143161"/>
                    <a:gd name="connsiteY12" fmla="*/ 256232 h 3373734"/>
                    <a:gd name="connsiteX13" fmla="*/ 9142325 w 9143161"/>
                    <a:gd name="connsiteY13" fmla="*/ 0 h 3373734"/>
                    <a:gd name="connsiteX14" fmla="*/ 6792685 w 9143161"/>
                    <a:gd name="connsiteY14" fmla="*/ 10048 h 3373734"/>
                    <a:gd name="connsiteX15" fmla="*/ 5845628 w 9143161"/>
                    <a:gd name="connsiteY15" fmla="*/ 20934 h 3373734"/>
                    <a:gd name="connsiteX16" fmla="*/ 5050970 w 9143161"/>
                    <a:gd name="connsiteY16" fmla="*/ 53590 h 3373734"/>
                    <a:gd name="connsiteX17" fmla="*/ 5007428 w 9143161"/>
                    <a:gd name="connsiteY17" fmla="*/ 293077 h 3373734"/>
                    <a:gd name="connsiteX18" fmla="*/ 5910942 w 9143161"/>
                    <a:gd name="connsiteY18" fmla="*/ 521677 h 3373734"/>
                    <a:gd name="connsiteX19" fmla="*/ 6822829 w 9143161"/>
                    <a:gd name="connsiteY19" fmla="*/ 694174 h 3373734"/>
                    <a:gd name="connsiteX20" fmla="*/ 6553199 w 9143161"/>
                    <a:gd name="connsiteY20" fmla="*/ 761162 h 3373734"/>
                    <a:gd name="connsiteX21" fmla="*/ 5823856 w 9143161"/>
                    <a:gd name="connsiteY21" fmla="*/ 837362 h 3373734"/>
                    <a:gd name="connsiteX22" fmla="*/ 4920342 w 9143161"/>
                    <a:gd name="connsiteY22" fmla="*/ 924448 h 3373734"/>
                    <a:gd name="connsiteX23" fmla="*/ 3352799 w 9143161"/>
                    <a:gd name="connsiteY23" fmla="*/ 1055077 h 3373734"/>
                    <a:gd name="connsiteX24" fmla="*/ 3243942 w 9143161"/>
                    <a:gd name="connsiteY24" fmla="*/ 1261905 h 3373734"/>
                    <a:gd name="connsiteX25" fmla="*/ 5508170 w 9143161"/>
                    <a:gd name="connsiteY25" fmla="*/ 1817077 h 3373734"/>
                    <a:gd name="connsiteX26" fmla="*/ 5758542 w 9143161"/>
                    <a:gd name="connsiteY26" fmla="*/ 2154534 h 3373734"/>
                    <a:gd name="connsiteX27" fmla="*/ 4125685 w 9143161"/>
                    <a:gd name="connsiteY27" fmla="*/ 2361362 h 3373734"/>
                    <a:gd name="connsiteX28" fmla="*/ 1894113 w 9143161"/>
                    <a:gd name="connsiteY28" fmla="*/ 2426677 h 3373734"/>
                    <a:gd name="connsiteX29" fmla="*/ 0 w 9143161"/>
                    <a:gd name="connsiteY29" fmla="*/ 2448448 h 3373734"/>
                    <a:gd name="connsiteX30" fmla="*/ 0 w 9143161"/>
                    <a:gd name="connsiteY30"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579455 h 3373734"/>
                    <a:gd name="connsiteX10" fmla="*/ 5954485 w 9143161"/>
                    <a:gd name="connsiteY10" fmla="*/ 249534 h 3373734"/>
                    <a:gd name="connsiteX11" fmla="*/ 6585856 w 9143161"/>
                    <a:gd name="connsiteY11" fmla="*/ 260419 h 3373734"/>
                    <a:gd name="connsiteX12" fmla="*/ 9143161 w 9143161"/>
                    <a:gd name="connsiteY12" fmla="*/ 256232 h 3373734"/>
                    <a:gd name="connsiteX13" fmla="*/ 9142325 w 9143161"/>
                    <a:gd name="connsiteY13" fmla="*/ 0 h 3373734"/>
                    <a:gd name="connsiteX14" fmla="*/ 6792685 w 9143161"/>
                    <a:gd name="connsiteY14" fmla="*/ 10048 h 3373734"/>
                    <a:gd name="connsiteX15" fmla="*/ 5845628 w 9143161"/>
                    <a:gd name="connsiteY15" fmla="*/ 20934 h 3373734"/>
                    <a:gd name="connsiteX16" fmla="*/ 5050970 w 9143161"/>
                    <a:gd name="connsiteY16" fmla="*/ 53590 h 3373734"/>
                    <a:gd name="connsiteX17" fmla="*/ 5007428 w 9143161"/>
                    <a:gd name="connsiteY17" fmla="*/ 293077 h 3373734"/>
                    <a:gd name="connsiteX18" fmla="*/ 5910942 w 9143161"/>
                    <a:gd name="connsiteY18" fmla="*/ 521677 h 3373734"/>
                    <a:gd name="connsiteX19" fmla="*/ 6822829 w 9143161"/>
                    <a:gd name="connsiteY19" fmla="*/ 694174 h 3373734"/>
                    <a:gd name="connsiteX20" fmla="*/ 6553199 w 9143161"/>
                    <a:gd name="connsiteY20" fmla="*/ 761162 h 3373734"/>
                    <a:gd name="connsiteX21" fmla="*/ 5823856 w 9143161"/>
                    <a:gd name="connsiteY21" fmla="*/ 837362 h 3373734"/>
                    <a:gd name="connsiteX22" fmla="*/ 4920342 w 9143161"/>
                    <a:gd name="connsiteY22" fmla="*/ 924448 h 3373734"/>
                    <a:gd name="connsiteX23" fmla="*/ 3352799 w 9143161"/>
                    <a:gd name="connsiteY23" fmla="*/ 1055077 h 3373734"/>
                    <a:gd name="connsiteX24" fmla="*/ 3243942 w 9143161"/>
                    <a:gd name="connsiteY24" fmla="*/ 1261905 h 3373734"/>
                    <a:gd name="connsiteX25" fmla="*/ 5508170 w 9143161"/>
                    <a:gd name="connsiteY25" fmla="*/ 1817077 h 3373734"/>
                    <a:gd name="connsiteX26" fmla="*/ 5758542 w 9143161"/>
                    <a:gd name="connsiteY26" fmla="*/ 2154534 h 3373734"/>
                    <a:gd name="connsiteX27" fmla="*/ 4125685 w 9143161"/>
                    <a:gd name="connsiteY27" fmla="*/ 2361362 h 3373734"/>
                    <a:gd name="connsiteX28" fmla="*/ 1894113 w 9143161"/>
                    <a:gd name="connsiteY28" fmla="*/ 2426677 h 3373734"/>
                    <a:gd name="connsiteX29" fmla="*/ 0 w 9143161"/>
                    <a:gd name="connsiteY29" fmla="*/ 2448448 h 3373734"/>
                    <a:gd name="connsiteX30" fmla="*/ 0 w 9143161"/>
                    <a:gd name="connsiteY30"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579455 h 3373734"/>
                    <a:gd name="connsiteX10" fmla="*/ 5954485 w 9143161"/>
                    <a:gd name="connsiteY10" fmla="*/ 249534 h 3373734"/>
                    <a:gd name="connsiteX11" fmla="*/ 6585856 w 9143161"/>
                    <a:gd name="connsiteY11" fmla="*/ 260419 h 3373734"/>
                    <a:gd name="connsiteX12" fmla="*/ 9143161 w 9143161"/>
                    <a:gd name="connsiteY12" fmla="*/ 256232 h 3373734"/>
                    <a:gd name="connsiteX13" fmla="*/ 9142325 w 9143161"/>
                    <a:gd name="connsiteY13" fmla="*/ 0 h 3373734"/>
                    <a:gd name="connsiteX14" fmla="*/ 6792685 w 9143161"/>
                    <a:gd name="connsiteY14" fmla="*/ 10048 h 3373734"/>
                    <a:gd name="connsiteX15" fmla="*/ 5845628 w 9143161"/>
                    <a:gd name="connsiteY15" fmla="*/ 20934 h 3373734"/>
                    <a:gd name="connsiteX16" fmla="*/ 5050970 w 9143161"/>
                    <a:gd name="connsiteY16" fmla="*/ 53590 h 3373734"/>
                    <a:gd name="connsiteX17" fmla="*/ 5007428 w 9143161"/>
                    <a:gd name="connsiteY17" fmla="*/ 293077 h 3373734"/>
                    <a:gd name="connsiteX18" fmla="*/ 5910942 w 9143161"/>
                    <a:gd name="connsiteY18" fmla="*/ 521677 h 3373734"/>
                    <a:gd name="connsiteX19" fmla="*/ 6822829 w 9143161"/>
                    <a:gd name="connsiteY19" fmla="*/ 694174 h 3373734"/>
                    <a:gd name="connsiteX20" fmla="*/ 6553199 w 9143161"/>
                    <a:gd name="connsiteY20" fmla="*/ 761162 h 3373734"/>
                    <a:gd name="connsiteX21" fmla="*/ 5823856 w 9143161"/>
                    <a:gd name="connsiteY21" fmla="*/ 837362 h 3373734"/>
                    <a:gd name="connsiteX22" fmla="*/ 4920342 w 9143161"/>
                    <a:gd name="connsiteY22" fmla="*/ 924448 h 3373734"/>
                    <a:gd name="connsiteX23" fmla="*/ 3352799 w 9143161"/>
                    <a:gd name="connsiteY23" fmla="*/ 1055077 h 3373734"/>
                    <a:gd name="connsiteX24" fmla="*/ 3080656 w 9143161"/>
                    <a:gd name="connsiteY24" fmla="*/ 1283677 h 3373734"/>
                    <a:gd name="connsiteX25" fmla="*/ 5508170 w 9143161"/>
                    <a:gd name="connsiteY25" fmla="*/ 1817077 h 3373734"/>
                    <a:gd name="connsiteX26" fmla="*/ 5758542 w 9143161"/>
                    <a:gd name="connsiteY26" fmla="*/ 2154534 h 3373734"/>
                    <a:gd name="connsiteX27" fmla="*/ 4125685 w 9143161"/>
                    <a:gd name="connsiteY27" fmla="*/ 2361362 h 3373734"/>
                    <a:gd name="connsiteX28" fmla="*/ 1894113 w 9143161"/>
                    <a:gd name="connsiteY28" fmla="*/ 2426677 h 3373734"/>
                    <a:gd name="connsiteX29" fmla="*/ 0 w 9143161"/>
                    <a:gd name="connsiteY29" fmla="*/ 2448448 h 3373734"/>
                    <a:gd name="connsiteX30" fmla="*/ 0 w 9143161"/>
                    <a:gd name="connsiteY30"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579455 h 3373734"/>
                    <a:gd name="connsiteX10" fmla="*/ 5954485 w 9143161"/>
                    <a:gd name="connsiteY10" fmla="*/ 249534 h 3373734"/>
                    <a:gd name="connsiteX11" fmla="*/ 6585856 w 9143161"/>
                    <a:gd name="connsiteY11" fmla="*/ 260419 h 3373734"/>
                    <a:gd name="connsiteX12" fmla="*/ 9143161 w 9143161"/>
                    <a:gd name="connsiteY12" fmla="*/ 256232 h 3373734"/>
                    <a:gd name="connsiteX13" fmla="*/ 9142325 w 9143161"/>
                    <a:gd name="connsiteY13" fmla="*/ 0 h 3373734"/>
                    <a:gd name="connsiteX14" fmla="*/ 6792685 w 9143161"/>
                    <a:gd name="connsiteY14" fmla="*/ 10048 h 3373734"/>
                    <a:gd name="connsiteX15" fmla="*/ 5845628 w 9143161"/>
                    <a:gd name="connsiteY15" fmla="*/ 20934 h 3373734"/>
                    <a:gd name="connsiteX16" fmla="*/ 5050970 w 9143161"/>
                    <a:gd name="connsiteY16" fmla="*/ 53590 h 3373734"/>
                    <a:gd name="connsiteX17" fmla="*/ 5007428 w 9143161"/>
                    <a:gd name="connsiteY17" fmla="*/ 293077 h 3373734"/>
                    <a:gd name="connsiteX18" fmla="*/ 5910942 w 9143161"/>
                    <a:gd name="connsiteY18" fmla="*/ 521677 h 3373734"/>
                    <a:gd name="connsiteX19" fmla="*/ 6822829 w 9143161"/>
                    <a:gd name="connsiteY19" fmla="*/ 694174 h 3373734"/>
                    <a:gd name="connsiteX20" fmla="*/ 6553199 w 9143161"/>
                    <a:gd name="connsiteY20" fmla="*/ 761162 h 3373734"/>
                    <a:gd name="connsiteX21" fmla="*/ 5823856 w 9143161"/>
                    <a:gd name="connsiteY21" fmla="*/ 837362 h 3373734"/>
                    <a:gd name="connsiteX22" fmla="*/ 4920342 w 9143161"/>
                    <a:gd name="connsiteY22" fmla="*/ 924448 h 3373734"/>
                    <a:gd name="connsiteX23" fmla="*/ 3080656 w 9143161"/>
                    <a:gd name="connsiteY23" fmla="*/ 1283677 h 3373734"/>
                    <a:gd name="connsiteX24" fmla="*/ 5508170 w 9143161"/>
                    <a:gd name="connsiteY24" fmla="*/ 1817077 h 3373734"/>
                    <a:gd name="connsiteX25" fmla="*/ 5758542 w 9143161"/>
                    <a:gd name="connsiteY25" fmla="*/ 2154534 h 3373734"/>
                    <a:gd name="connsiteX26" fmla="*/ 4125685 w 9143161"/>
                    <a:gd name="connsiteY26" fmla="*/ 2361362 h 3373734"/>
                    <a:gd name="connsiteX27" fmla="*/ 1894113 w 9143161"/>
                    <a:gd name="connsiteY27" fmla="*/ 2426677 h 3373734"/>
                    <a:gd name="connsiteX28" fmla="*/ 0 w 9143161"/>
                    <a:gd name="connsiteY28" fmla="*/ 2448448 h 3373734"/>
                    <a:gd name="connsiteX29" fmla="*/ 0 w 9143161"/>
                    <a:gd name="connsiteY29"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51489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579455 h 3373734"/>
                    <a:gd name="connsiteX10" fmla="*/ 5954485 w 9143161"/>
                    <a:gd name="connsiteY10" fmla="*/ 249534 h 3373734"/>
                    <a:gd name="connsiteX11" fmla="*/ 6585856 w 9143161"/>
                    <a:gd name="connsiteY11" fmla="*/ 260419 h 3373734"/>
                    <a:gd name="connsiteX12" fmla="*/ 9143161 w 9143161"/>
                    <a:gd name="connsiteY12" fmla="*/ 256232 h 3373734"/>
                    <a:gd name="connsiteX13" fmla="*/ 9142325 w 9143161"/>
                    <a:gd name="connsiteY13" fmla="*/ 0 h 3373734"/>
                    <a:gd name="connsiteX14" fmla="*/ 6792685 w 9143161"/>
                    <a:gd name="connsiteY14" fmla="*/ 10048 h 3373734"/>
                    <a:gd name="connsiteX15" fmla="*/ 5845628 w 9143161"/>
                    <a:gd name="connsiteY15" fmla="*/ 20934 h 3373734"/>
                    <a:gd name="connsiteX16" fmla="*/ 5050970 w 9143161"/>
                    <a:gd name="connsiteY16" fmla="*/ 53590 h 3373734"/>
                    <a:gd name="connsiteX17" fmla="*/ 5007428 w 9143161"/>
                    <a:gd name="connsiteY17" fmla="*/ 293077 h 3373734"/>
                    <a:gd name="connsiteX18" fmla="*/ 5910942 w 9143161"/>
                    <a:gd name="connsiteY18" fmla="*/ 521677 h 3373734"/>
                    <a:gd name="connsiteX19" fmla="*/ 6822829 w 9143161"/>
                    <a:gd name="connsiteY19" fmla="*/ 694174 h 3373734"/>
                    <a:gd name="connsiteX20" fmla="*/ 6553199 w 9143161"/>
                    <a:gd name="connsiteY20" fmla="*/ 761162 h 3373734"/>
                    <a:gd name="connsiteX21" fmla="*/ 5823856 w 9143161"/>
                    <a:gd name="connsiteY21" fmla="*/ 837362 h 3373734"/>
                    <a:gd name="connsiteX22" fmla="*/ 4920342 w 9143161"/>
                    <a:gd name="connsiteY22" fmla="*/ 924448 h 3373734"/>
                    <a:gd name="connsiteX23" fmla="*/ 3080656 w 9143161"/>
                    <a:gd name="connsiteY23" fmla="*/ 1283677 h 3373734"/>
                    <a:gd name="connsiteX24" fmla="*/ 5421084 w 9143161"/>
                    <a:gd name="connsiteY24" fmla="*/ 1893277 h 3373734"/>
                    <a:gd name="connsiteX25" fmla="*/ 5758542 w 9143161"/>
                    <a:gd name="connsiteY25" fmla="*/ 2154534 h 3373734"/>
                    <a:gd name="connsiteX26" fmla="*/ 4125685 w 9143161"/>
                    <a:gd name="connsiteY26" fmla="*/ 2361362 h 3373734"/>
                    <a:gd name="connsiteX27" fmla="*/ 1894113 w 9143161"/>
                    <a:gd name="connsiteY27" fmla="*/ 2426677 h 3373734"/>
                    <a:gd name="connsiteX28" fmla="*/ 0 w 9143161"/>
                    <a:gd name="connsiteY28" fmla="*/ 2448448 h 3373734"/>
                    <a:gd name="connsiteX29" fmla="*/ 0 w 9143161"/>
                    <a:gd name="connsiteY29"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5649685 w 9143161"/>
                    <a:gd name="connsiteY5" fmla="*/ 1425191 h 3373734"/>
                    <a:gd name="connsiteX6" fmla="*/ 4615542 w 9143161"/>
                    <a:gd name="connsiteY6" fmla="*/ 1305448 h 3373734"/>
                    <a:gd name="connsiteX7" fmla="*/ 5682342 w 9143161"/>
                    <a:gd name="connsiteY7" fmla="*/ 1207477 h 3373734"/>
                    <a:gd name="connsiteX8" fmla="*/ 8000998 w 9143161"/>
                    <a:gd name="connsiteY8" fmla="*/ 935334 h 3373734"/>
                    <a:gd name="connsiteX9" fmla="*/ 7754814 w 9143161"/>
                    <a:gd name="connsiteY9" fmla="*/ 579455 h 3373734"/>
                    <a:gd name="connsiteX10" fmla="*/ 5954485 w 9143161"/>
                    <a:gd name="connsiteY10" fmla="*/ 249534 h 3373734"/>
                    <a:gd name="connsiteX11" fmla="*/ 6585856 w 9143161"/>
                    <a:gd name="connsiteY11" fmla="*/ 260419 h 3373734"/>
                    <a:gd name="connsiteX12" fmla="*/ 9143161 w 9143161"/>
                    <a:gd name="connsiteY12" fmla="*/ 256232 h 3373734"/>
                    <a:gd name="connsiteX13" fmla="*/ 9142325 w 9143161"/>
                    <a:gd name="connsiteY13" fmla="*/ 0 h 3373734"/>
                    <a:gd name="connsiteX14" fmla="*/ 6792685 w 9143161"/>
                    <a:gd name="connsiteY14" fmla="*/ 10048 h 3373734"/>
                    <a:gd name="connsiteX15" fmla="*/ 5845628 w 9143161"/>
                    <a:gd name="connsiteY15" fmla="*/ 20934 h 3373734"/>
                    <a:gd name="connsiteX16" fmla="*/ 5050970 w 9143161"/>
                    <a:gd name="connsiteY16" fmla="*/ 53590 h 3373734"/>
                    <a:gd name="connsiteX17" fmla="*/ 5007428 w 9143161"/>
                    <a:gd name="connsiteY17" fmla="*/ 293077 h 3373734"/>
                    <a:gd name="connsiteX18" fmla="*/ 5910942 w 9143161"/>
                    <a:gd name="connsiteY18" fmla="*/ 521677 h 3373734"/>
                    <a:gd name="connsiteX19" fmla="*/ 6822829 w 9143161"/>
                    <a:gd name="connsiteY19" fmla="*/ 694174 h 3373734"/>
                    <a:gd name="connsiteX20" fmla="*/ 6553199 w 9143161"/>
                    <a:gd name="connsiteY20" fmla="*/ 761162 h 3373734"/>
                    <a:gd name="connsiteX21" fmla="*/ 5823856 w 9143161"/>
                    <a:gd name="connsiteY21" fmla="*/ 837362 h 3373734"/>
                    <a:gd name="connsiteX22" fmla="*/ 4920342 w 9143161"/>
                    <a:gd name="connsiteY22" fmla="*/ 924448 h 3373734"/>
                    <a:gd name="connsiteX23" fmla="*/ 3080656 w 9143161"/>
                    <a:gd name="connsiteY23" fmla="*/ 1283677 h 3373734"/>
                    <a:gd name="connsiteX24" fmla="*/ 5421084 w 9143161"/>
                    <a:gd name="connsiteY24" fmla="*/ 1893277 h 3373734"/>
                    <a:gd name="connsiteX25" fmla="*/ 5758542 w 9143161"/>
                    <a:gd name="connsiteY25" fmla="*/ 2154534 h 3373734"/>
                    <a:gd name="connsiteX26" fmla="*/ 4125685 w 9143161"/>
                    <a:gd name="connsiteY26" fmla="*/ 2361362 h 3373734"/>
                    <a:gd name="connsiteX27" fmla="*/ 1894113 w 9143161"/>
                    <a:gd name="connsiteY27" fmla="*/ 2426677 h 3373734"/>
                    <a:gd name="connsiteX28" fmla="*/ 0 w 9143161"/>
                    <a:gd name="connsiteY28" fmla="*/ 2448448 h 3373734"/>
                    <a:gd name="connsiteX29" fmla="*/ 0 w 9143161"/>
                    <a:gd name="connsiteY29"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4615542 w 9143161"/>
                    <a:gd name="connsiteY5" fmla="*/ 1305448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421084 w 9143161"/>
                    <a:gd name="connsiteY23" fmla="*/ 1893277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4452256 w 9143161"/>
                    <a:gd name="connsiteY5" fmla="*/ 1348991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421084 w 9143161"/>
                    <a:gd name="connsiteY23" fmla="*/ 1893277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4452256 w 9143161"/>
                    <a:gd name="connsiteY5" fmla="*/ 1348991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421084 w 9143161"/>
                    <a:gd name="connsiteY23" fmla="*/ 1893277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4593770 w 9143161"/>
                    <a:gd name="connsiteY5" fmla="*/ 1338105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421084 w 9143161"/>
                    <a:gd name="connsiteY23" fmla="*/ 1893277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90656 w 9143161"/>
                    <a:gd name="connsiteY3" fmla="*/ 2916534 h 3373734"/>
                    <a:gd name="connsiteX4" fmla="*/ 8175170 w 9143161"/>
                    <a:gd name="connsiteY4" fmla="*/ 2187191 h 3373734"/>
                    <a:gd name="connsiteX5" fmla="*/ 4593770 w 9143161"/>
                    <a:gd name="connsiteY5" fmla="*/ 1338105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79771 w 9143161"/>
                    <a:gd name="connsiteY3" fmla="*/ 2992734 h 3373734"/>
                    <a:gd name="connsiteX4" fmla="*/ 8175170 w 9143161"/>
                    <a:gd name="connsiteY4" fmla="*/ 2187191 h 3373734"/>
                    <a:gd name="connsiteX5" fmla="*/ 4593770 w 9143161"/>
                    <a:gd name="connsiteY5" fmla="*/ 1338105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879771 w 9143161"/>
                    <a:gd name="connsiteY3" fmla="*/ 2992734 h 3373734"/>
                    <a:gd name="connsiteX4" fmla="*/ 8175170 w 9143161"/>
                    <a:gd name="connsiteY4" fmla="*/ 2187191 h 3373734"/>
                    <a:gd name="connsiteX5" fmla="*/ 4593770 w 9143161"/>
                    <a:gd name="connsiteY5" fmla="*/ 1338105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29742 w 9143161"/>
                    <a:gd name="connsiteY2" fmla="*/ 3264876 h 3373734"/>
                    <a:gd name="connsiteX3" fmla="*/ 6923314 w 9143161"/>
                    <a:gd name="connsiteY3" fmla="*/ 3058049 h 3373734"/>
                    <a:gd name="connsiteX4" fmla="*/ 8175170 w 9143161"/>
                    <a:gd name="connsiteY4" fmla="*/ 2187191 h 3373734"/>
                    <a:gd name="connsiteX5" fmla="*/ 4593770 w 9143161"/>
                    <a:gd name="connsiteY5" fmla="*/ 1338105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8175170 w 9143161"/>
                    <a:gd name="connsiteY4" fmla="*/ 2187191 h 3373734"/>
                    <a:gd name="connsiteX5" fmla="*/ 4593770 w 9143161"/>
                    <a:gd name="connsiteY5" fmla="*/ 1338105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593770 w 9143161"/>
                    <a:gd name="connsiteY5" fmla="*/ 1338105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5954485 w 9143161"/>
                    <a:gd name="connsiteY9" fmla="*/ 249534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6215742 w 9143161"/>
                    <a:gd name="connsiteY9" fmla="*/ 282191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6455227 w 9143161"/>
                    <a:gd name="connsiteY9" fmla="*/ 303962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822829 w 9143161"/>
                    <a:gd name="connsiteY18" fmla="*/ 694174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6455227 w 9143161"/>
                    <a:gd name="connsiteY9" fmla="*/ 303962 h 3373734"/>
                    <a:gd name="connsiteX10" fmla="*/ 6585856 w 9143161"/>
                    <a:gd name="connsiteY10" fmla="*/ 260419 h 3373734"/>
                    <a:gd name="connsiteX11" fmla="*/ 9143161 w 9143161"/>
                    <a:gd name="connsiteY11" fmla="*/ 256232 h 3373734"/>
                    <a:gd name="connsiteX12" fmla="*/ 9142325 w 9143161"/>
                    <a:gd name="connsiteY12" fmla="*/ 0 h 3373734"/>
                    <a:gd name="connsiteX13" fmla="*/ 6792685 w 9143161"/>
                    <a:gd name="connsiteY13" fmla="*/ 10048 h 3373734"/>
                    <a:gd name="connsiteX14" fmla="*/ 5845628 w 9143161"/>
                    <a:gd name="connsiteY14" fmla="*/ 20934 h 3373734"/>
                    <a:gd name="connsiteX15" fmla="*/ 5050970 w 9143161"/>
                    <a:gd name="connsiteY15" fmla="*/ 53590 h 3373734"/>
                    <a:gd name="connsiteX16" fmla="*/ 5007428 w 9143161"/>
                    <a:gd name="connsiteY16" fmla="*/ 293077 h 3373734"/>
                    <a:gd name="connsiteX17" fmla="*/ 5910942 w 9143161"/>
                    <a:gd name="connsiteY17" fmla="*/ 521677 h 3373734"/>
                    <a:gd name="connsiteX18" fmla="*/ 6735743 w 9143161"/>
                    <a:gd name="connsiteY18" fmla="*/ 726831 h 3373734"/>
                    <a:gd name="connsiteX19" fmla="*/ 6553199 w 9143161"/>
                    <a:gd name="connsiteY19" fmla="*/ 761162 h 3373734"/>
                    <a:gd name="connsiteX20" fmla="*/ 5823856 w 9143161"/>
                    <a:gd name="connsiteY20" fmla="*/ 837362 h 3373734"/>
                    <a:gd name="connsiteX21" fmla="*/ 4920342 w 9143161"/>
                    <a:gd name="connsiteY21" fmla="*/ 924448 h 3373734"/>
                    <a:gd name="connsiteX22" fmla="*/ 3080656 w 9143161"/>
                    <a:gd name="connsiteY22" fmla="*/ 1283677 h 3373734"/>
                    <a:gd name="connsiteX23" fmla="*/ 5333998 w 9143161"/>
                    <a:gd name="connsiteY23" fmla="*/ 1947706 h 3373734"/>
                    <a:gd name="connsiteX24" fmla="*/ 5758542 w 9143161"/>
                    <a:gd name="connsiteY24" fmla="*/ 2154534 h 3373734"/>
                    <a:gd name="connsiteX25" fmla="*/ 4125685 w 9143161"/>
                    <a:gd name="connsiteY25" fmla="*/ 2361362 h 3373734"/>
                    <a:gd name="connsiteX26" fmla="*/ 1894113 w 9143161"/>
                    <a:gd name="connsiteY26" fmla="*/ 2426677 h 3373734"/>
                    <a:gd name="connsiteX27" fmla="*/ 0 w 9143161"/>
                    <a:gd name="connsiteY27" fmla="*/ 2448448 h 3373734"/>
                    <a:gd name="connsiteX28" fmla="*/ 0 w 9143161"/>
                    <a:gd name="connsiteY28"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6585856 w 9143161"/>
                    <a:gd name="connsiteY9" fmla="*/ 260419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79455 h 3373734"/>
                    <a:gd name="connsiteX9" fmla="*/ 6585856 w 9143161"/>
                    <a:gd name="connsiteY9" fmla="*/ 260419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25026 h 3373734"/>
                    <a:gd name="connsiteX9" fmla="*/ 6585856 w 9143161"/>
                    <a:gd name="connsiteY9" fmla="*/ 260419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54814 w 9143161"/>
                    <a:gd name="connsiteY8" fmla="*/ 525026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22157 w 9143161"/>
                    <a:gd name="connsiteY8" fmla="*/ 579455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22157 w 9143161"/>
                    <a:gd name="connsiteY8" fmla="*/ 579455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4887684 w 9143161"/>
                    <a:gd name="connsiteY5" fmla="*/ 1359877 h 3373734"/>
                    <a:gd name="connsiteX6" fmla="*/ 5682342 w 9143161"/>
                    <a:gd name="connsiteY6" fmla="*/ 1207477 h 3373734"/>
                    <a:gd name="connsiteX7" fmla="*/ 8000998 w 9143161"/>
                    <a:gd name="connsiteY7" fmla="*/ 935334 h 3373734"/>
                    <a:gd name="connsiteX8" fmla="*/ 7722157 w 9143161"/>
                    <a:gd name="connsiteY8" fmla="*/ 579455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5083627 w 9143161"/>
                    <a:gd name="connsiteY5" fmla="*/ 1348992 h 3373734"/>
                    <a:gd name="connsiteX6" fmla="*/ 5682342 w 9143161"/>
                    <a:gd name="connsiteY6" fmla="*/ 1207477 h 3373734"/>
                    <a:gd name="connsiteX7" fmla="*/ 8000998 w 9143161"/>
                    <a:gd name="connsiteY7" fmla="*/ 935334 h 3373734"/>
                    <a:gd name="connsiteX8" fmla="*/ 7722157 w 9143161"/>
                    <a:gd name="connsiteY8" fmla="*/ 579455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5083627 w 9143161"/>
                    <a:gd name="connsiteY5" fmla="*/ 1348992 h 3373734"/>
                    <a:gd name="connsiteX6" fmla="*/ 5682342 w 9143161"/>
                    <a:gd name="connsiteY6" fmla="*/ 1207477 h 3373734"/>
                    <a:gd name="connsiteX7" fmla="*/ 8000998 w 9143161"/>
                    <a:gd name="connsiteY7" fmla="*/ 935334 h 3373734"/>
                    <a:gd name="connsiteX8" fmla="*/ 7722157 w 9143161"/>
                    <a:gd name="connsiteY8" fmla="*/ 579455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5083627 w 9143161"/>
                    <a:gd name="connsiteY5" fmla="*/ 1348992 h 3373734"/>
                    <a:gd name="connsiteX6" fmla="*/ 5682342 w 9143161"/>
                    <a:gd name="connsiteY6" fmla="*/ 1207477 h 3373734"/>
                    <a:gd name="connsiteX7" fmla="*/ 8000998 w 9143161"/>
                    <a:gd name="connsiteY7" fmla="*/ 935334 h 3373734"/>
                    <a:gd name="connsiteX8" fmla="*/ 7722157 w 9143161"/>
                    <a:gd name="connsiteY8" fmla="*/ 579455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792685 w 9143161"/>
                    <a:gd name="connsiteY12" fmla="*/ 10048 h 3373734"/>
                    <a:gd name="connsiteX13" fmla="*/ 5845628 w 9143161"/>
                    <a:gd name="connsiteY13" fmla="*/ 20934 h 3373734"/>
                    <a:gd name="connsiteX14" fmla="*/ 5050970 w 9143161"/>
                    <a:gd name="connsiteY14" fmla="*/ 53590 h 3373734"/>
                    <a:gd name="connsiteX15" fmla="*/ 5007428 w 9143161"/>
                    <a:gd name="connsiteY15" fmla="*/ 293077 h 3373734"/>
                    <a:gd name="connsiteX16" fmla="*/ 5910942 w 9143161"/>
                    <a:gd name="connsiteY16" fmla="*/ 521677 h 3373734"/>
                    <a:gd name="connsiteX17" fmla="*/ 6735743 w 9143161"/>
                    <a:gd name="connsiteY17" fmla="*/ 726831 h 3373734"/>
                    <a:gd name="connsiteX18" fmla="*/ 6553199 w 9143161"/>
                    <a:gd name="connsiteY18" fmla="*/ 761162 h 3373734"/>
                    <a:gd name="connsiteX19" fmla="*/ 5823856 w 9143161"/>
                    <a:gd name="connsiteY19" fmla="*/ 837362 h 3373734"/>
                    <a:gd name="connsiteX20" fmla="*/ 4920342 w 9143161"/>
                    <a:gd name="connsiteY20" fmla="*/ 924448 h 3373734"/>
                    <a:gd name="connsiteX21" fmla="*/ 3080656 w 9143161"/>
                    <a:gd name="connsiteY21" fmla="*/ 1283677 h 3373734"/>
                    <a:gd name="connsiteX22" fmla="*/ 5333998 w 9143161"/>
                    <a:gd name="connsiteY22" fmla="*/ 1947706 h 3373734"/>
                    <a:gd name="connsiteX23" fmla="*/ 5758542 w 9143161"/>
                    <a:gd name="connsiteY23" fmla="*/ 2154534 h 3373734"/>
                    <a:gd name="connsiteX24" fmla="*/ 4125685 w 9143161"/>
                    <a:gd name="connsiteY24" fmla="*/ 2361362 h 3373734"/>
                    <a:gd name="connsiteX25" fmla="*/ 1894113 w 9143161"/>
                    <a:gd name="connsiteY25" fmla="*/ 2426677 h 3373734"/>
                    <a:gd name="connsiteX26" fmla="*/ 0 w 9143161"/>
                    <a:gd name="connsiteY26" fmla="*/ 2448448 h 3373734"/>
                    <a:gd name="connsiteX27" fmla="*/ 0 w 9143161"/>
                    <a:gd name="connsiteY27" fmla="*/ 3373734 h 3373734"/>
                    <a:gd name="connsiteX0" fmla="*/ 0 w 9143161"/>
                    <a:gd name="connsiteY0" fmla="*/ 3429001 h 3429001"/>
                    <a:gd name="connsiteX1" fmla="*/ 718456 w 9143161"/>
                    <a:gd name="connsiteY1" fmla="*/ 3418115 h 3429001"/>
                    <a:gd name="connsiteX2" fmla="*/ 3973285 w 9143161"/>
                    <a:gd name="connsiteY2" fmla="*/ 3429000 h 3429001"/>
                    <a:gd name="connsiteX3" fmla="*/ 6923314 w 9143161"/>
                    <a:gd name="connsiteY3" fmla="*/ 3113316 h 3429001"/>
                    <a:gd name="connsiteX4" fmla="*/ 7968342 w 9143161"/>
                    <a:gd name="connsiteY4" fmla="*/ 2177143 h 3429001"/>
                    <a:gd name="connsiteX5" fmla="*/ 5083627 w 9143161"/>
                    <a:gd name="connsiteY5" fmla="*/ 1404259 h 3429001"/>
                    <a:gd name="connsiteX6" fmla="*/ 5682342 w 9143161"/>
                    <a:gd name="connsiteY6" fmla="*/ 1262744 h 3429001"/>
                    <a:gd name="connsiteX7" fmla="*/ 8000998 w 9143161"/>
                    <a:gd name="connsiteY7" fmla="*/ 990601 h 3429001"/>
                    <a:gd name="connsiteX8" fmla="*/ 7722157 w 9143161"/>
                    <a:gd name="connsiteY8" fmla="*/ 634722 h 3429001"/>
                    <a:gd name="connsiteX9" fmla="*/ 6825341 w 9143161"/>
                    <a:gd name="connsiteY9" fmla="*/ 337457 h 3429001"/>
                    <a:gd name="connsiteX10" fmla="*/ 9143161 w 9143161"/>
                    <a:gd name="connsiteY10" fmla="*/ 311499 h 3429001"/>
                    <a:gd name="connsiteX11" fmla="*/ 9142325 w 9143161"/>
                    <a:gd name="connsiteY11" fmla="*/ 55267 h 3429001"/>
                    <a:gd name="connsiteX12" fmla="*/ 6792685 w 9143161"/>
                    <a:gd name="connsiteY12" fmla="*/ 0 h 3429001"/>
                    <a:gd name="connsiteX13" fmla="*/ 5845628 w 9143161"/>
                    <a:gd name="connsiteY13" fmla="*/ 76201 h 3429001"/>
                    <a:gd name="connsiteX14" fmla="*/ 5050970 w 9143161"/>
                    <a:gd name="connsiteY14" fmla="*/ 108857 h 3429001"/>
                    <a:gd name="connsiteX15" fmla="*/ 5007428 w 9143161"/>
                    <a:gd name="connsiteY15" fmla="*/ 348344 h 3429001"/>
                    <a:gd name="connsiteX16" fmla="*/ 5910942 w 9143161"/>
                    <a:gd name="connsiteY16" fmla="*/ 576944 h 3429001"/>
                    <a:gd name="connsiteX17" fmla="*/ 6735743 w 9143161"/>
                    <a:gd name="connsiteY17" fmla="*/ 782098 h 3429001"/>
                    <a:gd name="connsiteX18" fmla="*/ 6553199 w 9143161"/>
                    <a:gd name="connsiteY18" fmla="*/ 816429 h 3429001"/>
                    <a:gd name="connsiteX19" fmla="*/ 5823856 w 9143161"/>
                    <a:gd name="connsiteY19" fmla="*/ 892629 h 3429001"/>
                    <a:gd name="connsiteX20" fmla="*/ 4920342 w 9143161"/>
                    <a:gd name="connsiteY20" fmla="*/ 979715 h 3429001"/>
                    <a:gd name="connsiteX21" fmla="*/ 3080656 w 9143161"/>
                    <a:gd name="connsiteY21" fmla="*/ 1338944 h 3429001"/>
                    <a:gd name="connsiteX22" fmla="*/ 5333998 w 9143161"/>
                    <a:gd name="connsiteY22" fmla="*/ 2002973 h 3429001"/>
                    <a:gd name="connsiteX23" fmla="*/ 5758542 w 9143161"/>
                    <a:gd name="connsiteY23" fmla="*/ 2209801 h 3429001"/>
                    <a:gd name="connsiteX24" fmla="*/ 4125685 w 9143161"/>
                    <a:gd name="connsiteY24" fmla="*/ 2416629 h 3429001"/>
                    <a:gd name="connsiteX25" fmla="*/ 1894113 w 9143161"/>
                    <a:gd name="connsiteY25" fmla="*/ 2481944 h 3429001"/>
                    <a:gd name="connsiteX26" fmla="*/ 0 w 9143161"/>
                    <a:gd name="connsiteY26" fmla="*/ 2503715 h 3429001"/>
                    <a:gd name="connsiteX27" fmla="*/ 0 w 9143161"/>
                    <a:gd name="connsiteY27" fmla="*/ 3429001 h 3429001"/>
                    <a:gd name="connsiteX0" fmla="*/ 0 w 9143161"/>
                    <a:gd name="connsiteY0" fmla="*/ 3429001 h 3429001"/>
                    <a:gd name="connsiteX1" fmla="*/ 718456 w 9143161"/>
                    <a:gd name="connsiteY1" fmla="*/ 3418115 h 3429001"/>
                    <a:gd name="connsiteX2" fmla="*/ 3973285 w 9143161"/>
                    <a:gd name="connsiteY2" fmla="*/ 3429000 h 3429001"/>
                    <a:gd name="connsiteX3" fmla="*/ 6923314 w 9143161"/>
                    <a:gd name="connsiteY3" fmla="*/ 3113316 h 3429001"/>
                    <a:gd name="connsiteX4" fmla="*/ 7968342 w 9143161"/>
                    <a:gd name="connsiteY4" fmla="*/ 2177143 h 3429001"/>
                    <a:gd name="connsiteX5" fmla="*/ 5083627 w 9143161"/>
                    <a:gd name="connsiteY5" fmla="*/ 1404259 h 3429001"/>
                    <a:gd name="connsiteX6" fmla="*/ 5682342 w 9143161"/>
                    <a:gd name="connsiteY6" fmla="*/ 1262744 h 3429001"/>
                    <a:gd name="connsiteX7" fmla="*/ 8000998 w 9143161"/>
                    <a:gd name="connsiteY7" fmla="*/ 990601 h 3429001"/>
                    <a:gd name="connsiteX8" fmla="*/ 7722157 w 9143161"/>
                    <a:gd name="connsiteY8" fmla="*/ 634722 h 3429001"/>
                    <a:gd name="connsiteX9" fmla="*/ 6825341 w 9143161"/>
                    <a:gd name="connsiteY9" fmla="*/ 337457 h 3429001"/>
                    <a:gd name="connsiteX10" fmla="*/ 9143161 w 9143161"/>
                    <a:gd name="connsiteY10" fmla="*/ 311499 h 3429001"/>
                    <a:gd name="connsiteX11" fmla="*/ 9142325 w 9143161"/>
                    <a:gd name="connsiteY11" fmla="*/ 55267 h 3429001"/>
                    <a:gd name="connsiteX12" fmla="*/ 6792685 w 9143161"/>
                    <a:gd name="connsiteY12" fmla="*/ 0 h 3429001"/>
                    <a:gd name="connsiteX13" fmla="*/ 5050970 w 9143161"/>
                    <a:gd name="connsiteY13" fmla="*/ 108857 h 3429001"/>
                    <a:gd name="connsiteX14" fmla="*/ 5007428 w 9143161"/>
                    <a:gd name="connsiteY14" fmla="*/ 348344 h 3429001"/>
                    <a:gd name="connsiteX15" fmla="*/ 5910942 w 9143161"/>
                    <a:gd name="connsiteY15" fmla="*/ 576944 h 3429001"/>
                    <a:gd name="connsiteX16" fmla="*/ 6735743 w 9143161"/>
                    <a:gd name="connsiteY16" fmla="*/ 782098 h 3429001"/>
                    <a:gd name="connsiteX17" fmla="*/ 6553199 w 9143161"/>
                    <a:gd name="connsiteY17" fmla="*/ 816429 h 3429001"/>
                    <a:gd name="connsiteX18" fmla="*/ 5823856 w 9143161"/>
                    <a:gd name="connsiteY18" fmla="*/ 892629 h 3429001"/>
                    <a:gd name="connsiteX19" fmla="*/ 4920342 w 9143161"/>
                    <a:gd name="connsiteY19" fmla="*/ 979715 h 3429001"/>
                    <a:gd name="connsiteX20" fmla="*/ 3080656 w 9143161"/>
                    <a:gd name="connsiteY20" fmla="*/ 1338944 h 3429001"/>
                    <a:gd name="connsiteX21" fmla="*/ 5333998 w 9143161"/>
                    <a:gd name="connsiteY21" fmla="*/ 2002973 h 3429001"/>
                    <a:gd name="connsiteX22" fmla="*/ 5758542 w 9143161"/>
                    <a:gd name="connsiteY22" fmla="*/ 2209801 h 3429001"/>
                    <a:gd name="connsiteX23" fmla="*/ 4125685 w 9143161"/>
                    <a:gd name="connsiteY23" fmla="*/ 2416629 h 3429001"/>
                    <a:gd name="connsiteX24" fmla="*/ 1894113 w 9143161"/>
                    <a:gd name="connsiteY24" fmla="*/ 2481944 h 3429001"/>
                    <a:gd name="connsiteX25" fmla="*/ 0 w 9143161"/>
                    <a:gd name="connsiteY25" fmla="*/ 2503715 h 3429001"/>
                    <a:gd name="connsiteX26" fmla="*/ 0 w 9143161"/>
                    <a:gd name="connsiteY26" fmla="*/ 3429001 h 3429001"/>
                    <a:gd name="connsiteX0" fmla="*/ 0 w 9143161"/>
                    <a:gd name="connsiteY0" fmla="*/ 3373734 h 3373734"/>
                    <a:gd name="connsiteX1" fmla="*/ 718456 w 9143161"/>
                    <a:gd name="connsiteY1" fmla="*/ 3362848 h 3373734"/>
                    <a:gd name="connsiteX2" fmla="*/ 3973285 w 9143161"/>
                    <a:gd name="connsiteY2" fmla="*/ 3373733 h 3373734"/>
                    <a:gd name="connsiteX3" fmla="*/ 6923314 w 9143161"/>
                    <a:gd name="connsiteY3" fmla="*/ 3058049 h 3373734"/>
                    <a:gd name="connsiteX4" fmla="*/ 7968342 w 9143161"/>
                    <a:gd name="connsiteY4" fmla="*/ 2121876 h 3373734"/>
                    <a:gd name="connsiteX5" fmla="*/ 5083627 w 9143161"/>
                    <a:gd name="connsiteY5" fmla="*/ 1348992 h 3373734"/>
                    <a:gd name="connsiteX6" fmla="*/ 5682342 w 9143161"/>
                    <a:gd name="connsiteY6" fmla="*/ 1207477 h 3373734"/>
                    <a:gd name="connsiteX7" fmla="*/ 8000998 w 9143161"/>
                    <a:gd name="connsiteY7" fmla="*/ 935334 h 3373734"/>
                    <a:gd name="connsiteX8" fmla="*/ 7722157 w 9143161"/>
                    <a:gd name="connsiteY8" fmla="*/ 579455 h 3373734"/>
                    <a:gd name="connsiteX9" fmla="*/ 6825341 w 9143161"/>
                    <a:gd name="connsiteY9" fmla="*/ 282190 h 3373734"/>
                    <a:gd name="connsiteX10" fmla="*/ 9143161 w 9143161"/>
                    <a:gd name="connsiteY10" fmla="*/ 256232 h 3373734"/>
                    <a:gd name="connsiteX11" fmla="*/ 9142325 w 9143161"/>
                    <a:gd name="connsiteY11" fmla="*/ 0 h 3373734"/>
                    <a:gd name="connsiteX12" fmla="*/ 6607628 w 9143161"/>
                    <a:gd name="connsiteY12" fmla="*/ 42704 h 3373734"/>
                    <a:gd name="connsiteX13" fmla="*/ 5050970 w 9143161"/>
                    <a:gd name="connsiteY13" fmla="*/ 53590 h 3373734"/>
                    <a:gd name="connsiteX14" fmla="*/ 5007428 w 9143161"/>
                    <a:gd name="connsiteY14" fmla="*/ 293077 h 3373734"/>
                    <a:gd name="connsiteX15" fmla="*/ 5910942 w 9143161"/>
                    <a:gd name="connsiteY15" fmla="*/ 521677 h 3373734"/>
                    <a:gd name="connsiteX16" fmla="*/ 6735743 w 9143161"/>
                    <a:gd name="connsiteY16" fmla="*/ 726831 h 3373734"/>
                    <a:gd name="connsiteX17" fmla="*/ 6553199 w 9143161"/>
                    <a:gd name="connsiteY17" fmla="*/ 761162 h 3373734"/>
                    <a:gd name="connsiteX18" fmla="*/ 5823856 w 9143161"/>
                    <a:gd name="connsiteY18" fmla="*/ 837362 h 3373734"/>
                    <a:gd name="connsiteX19" fmla="*/ 4920342 w 9143161"/>
                    <a:gd name="connsiteY19" fmla="*/ 924448 h 3373734"/>
                    <a:gd name="connsiteX20" fmla="*/ 3080656 w 9143161"/>
                    <a:gd name="connsiteY20" fmla="*/ 1283677 h 3373734"/>
                    <a:gd name="connsiteX21" fmla="*/ 5333998 w 9143161"/>
                    <a:gd name="connsiteY21" fmla="*/ 1947706 h 3373734"/>
                    <a:gd name="connsiteX22" fmla="*/ 5758542 w 9143161"/>
                    <a:gd name="connsiteY22" fmla="*/ 2154534 h 3373734"/>
                    <a:gd name="connsiteX23" fmla="*/ 4125685 w 9143161"/>
                    <a:gd name="connsiteY23" fmla="*/ 2361362 h 3373734"/>
                    <a:gd name="connsiteX24" fmla="*/ 1894113 w 9143161"/>
                    <a:gd name="connsiteY24" fmla="*/ 2426677 h 3373734"/>
                    <a:gd name="connsiteX25" fmla="*/ 0 w 9143161"/>
                    <a:gd name="connsiteY25" fmla="*/ 2448448 h 3373734"/>
                    <a:gd name="connsiteX26" fmla="*/ 0 w 9143161"/>
                    <a:gd name="connsiteY26" fmla="*/ 3373734 h 3373734"/>
                    <a:gd name="connsiteX0" fmla="*/ 0 w 9143161"/>
                    <a:gd name="connsiteY0" fmla="*/ 3385458 h 3385458"/>
                    <a:gd name="connsiteX1" fmla="*/ 718456 w 9143161"/>
                    <a:gd name="connsiteY1" fmla="*/ 3374572 h 3385458"/>
                    <a:gd name="connsiteX2" fmla="*/ 3973285 w 9143161"/>
                    <a:gd name="connsiteY2" fmla="*/ 3385457 h 3385458"/>
                    <a:gd name="connsiteX3" fmla="*/ 6923314 w 9143161"/>
                    <a:gd name="connsiteY3" fmla="*/ 3069773 h 3385458"/>
                    <a:gd name="connsiteX4" fmla="*/ 7968342 w 9143161"/>
                    <a:gd name="connsiteY4" fmla="*/ 2133600 h 3385458"/>
                    <a:gd name="connsiteX5" fmla="*/ 5083627 w 9143161"/>
                    <a:gd name="connsiteY5" fmla="*/ 1360716 h 3385458"/>
                    <a:gd name="connsiteX6" fmla="*/ 5682342 w 9143161"/>
                    <a:gd name="connsiteY6" fmla="*/ 1219201 h 3385458"/>
                    <a:gd name="connsiteX7" fmla="*/ 8000998 w 9143161"/>
                    <a:gd name="connsiteY7" fmla="*/ 947058 h 3385458"/>
                    <a:gd name="connsiteX8" fmla="*/ 7722157 w 9143161"/>
                    <a:gd name="connsiteY8" fmla="*/ 591179 h 3385458"/>
                    <a:gd name="connsiteX9" fmla="*/ 6825341 w 9143161"/>
                    <a:gd name="connsiteY9" fmla="*/ 293914 h 3385458"/>
                    <a:gd name="connsiteX10" fmla="*/ 9143161 w 9143161"/>
                    <a:gd name="connsiteY10" fmla="*/ 267956 h 3385458"/>
                    <a:gd name="connsiteX11" fmla="*/ 9142325 w 9143161"/>
                    <a:gd name="connsiteY11" fmla="*/ 11724 h 3385458"/>
                    <a:gd name="connsiteX12" fmla="*/ 6607628 w 9143161"/>
                    <a:gd name="connsiteY12" fmla="*/ 0 h 3385458"/>
                    <a:gd name="connsiteX13" fmla="*/ 5050970 w 9143161"/>
                    <a:gd name="connsiteY13" fmla="*/ 65314 h 3385458"/>
                    <a:gd name="connsiteX14" fmla="*/ 5007428 w 9143161"/>
                    <a:gd name="connsiteY14" fmla="*/ 304801 h 3385458"/>
                    <a:gd name="connsiteX15" fmla="*/ 5910942 w 9143161"/>
                    <a:gd name="connsiteY15" fmla="*/ 533401 h 3385458"/>
                    <a:gd name="connsiteX16" fmla="*/ 6735743 w 9143161"/>
                    <a:gd name="connsiteY16" fmla="*/ 738555 h 3385458"/>
                    <a:gd name="connsiteX17" fmla="*/ 6553199 w 9143161"/>
                    <a:gd name="connsiteY17" fmla="*/ 772886 h 3385458"/>
                    <a:gd name="connsiteX18" fmla="*/ 5823856 w 9143161"/>
                    <a:gd name="connsiteY18" fmla="*/ 849086 h 3385458"/>
                    <a:gd name="connsiteX19" fmla="*/ 4920342 w 9143161"/>
                    <a:gd name="connsiteY19" fmla="*/ 936172 h 3385458"/>
                    <a:gd name="connsiteX20" fmla="*/ 3080656 w 9143161"/>
                    <a:gd name="connsiteY20" fmla="*/ 1295401 h 3385458"/>
                    <a:gd name="connsiteX21" fmla="*/ 5333998 w 9143161"/>
                    <a:gd name="connsiteY21" fmla="*/ 1959430 h 3385458"/>
                    <a:gd name="connsiteX22" fmla="*/ 5758542 w 9143161"/>
                    <a:gd name="connsiteY22" fmla="*/ 2166258 h 3385458"/>
                    <a:gd name="connsiteX23" fmla="*/ 4125685 w 9143161"/>
                    <a:gd name="connsiteY23" fmla="*/ 2373086 h 3385458"/>
                    <a:gd name="connsiteX24" fmla="*/ 1894113 w 9143161"/>
                    <a:gd name="connsiteY24" fmla="*/ 2438401 h 3385458"/>
                    <a:gd name="connsiteX25" fmla="*/ 0 w 9143161"/>
                    <a:gd name="connsiteY25" fmla="*/ 2460172 h 3385458"/>
                    <a:gd name="connsiteX26" fmla="*/ 0 w 9143161"/>
                    <a:gd name="connsiteY26" fmla="*/ 3385458 h 3385458"/>
                    <a:gd name="connsiteX0" fmla="*/ 0 w 9143161"/>
                    <a:gd name="connsiteY0" fmla="*/ 3417108 h 3417108"/>
                    <a:gd name="connsiteX1" fmla="*/ 718456 w 9143161"/>
                    <a:gd name="connsiteY1" fmla="*/ 3406222 h 3417108"/>
                    <a:gd name="connsiteX2" fmla="*/ 3973285 w 9143161"/>
                    <a:gd name="connsiteY2" fmla="*/ 3417107 h 3417108"/>
                    <a:gd name="connsiteX3" fmla="*/ 6923314 w 9143161"/>
                    <a:gd name="connsiteY3" fmla="*/ 3101423 h 3417108"/>
                    <a:gd name="connsiteX4" fmla="*/ 7968342 w 9143161"/>
                    <a:gd name="connsiteY4" fmla="*/ 2165250 h 3417108"/>
                    <a:gd name="connsiteX5" fmla="*/ 5083627 w 9143161"/>
                    <a:gd name="connsiteY5" fmla="*/ 1392366 h 3417108"/>
                    <a:gd name="connsiteX6" fmla="*/ 5682342 w 9143161"/>
                    <a:gd name="connsiteY6" fmla="*/ 1250851 h 3417108"/>
                    <a:gd name="connsiteX7" fmla="*/ 8000998 w 9143161"/>
                    <a:gd name="connsiteY7" fmla="*/ 978708 h 3417108"/>
                    <a:gd name="connsiteX8" fmla="*/ 7722157 w 9143161"/>
                    <a:gd name="connsiteY8" fmla="*/ 622829 h 3417108"/>
                    <a:gd name="connsiteX9" fmla="*/ 6825341 w 9143161"/>
                    <a:gd name="connsiteY9" fmla="*/ 325564 h 3417108"/>
                    <a:gd name="connsiteX10" fmla="*/ 9143161 w 9143161"/>
                    <a:gd name="connsiteY10" fmla="*/ 299606 h 3417108"/>
                    <a:gd name="connsiteX11" fmla="*/ 9142325 w 9143161"/>
                    <a:gd name="connsiteY11" fmla="*/ 43374 h 3417108"/>
                    <a:gd name="connsiteX12" fmla="*/ 6607628 w 9143161"/>
                    <a:gd name="connsiteY12" fmla="*/ 31650 h 3417108"/>
                    <a:gd name="connsiteX13" fmla="*/ 5050970 w 9143161"/>
                    <a:gd name="connsiteY13" fmla="*/ 20764 h 3417108"/>
                    <a:gd name="connsiteX14" fmla="*/ 5007428 w 9143161"/>
                    <a:gd name="connsiteY14" fmla="*/ 336451 h 3417108"/>
                    <a:gd name="connsiteX15" fmla="*/ 5910942 w 9143161"/>
                    <a:gd name="connsiteY15" fmla="*/ 565051 h 3417108"/>
                    <a:gd name="connsiteX16" fmla="*/ 6735743 w 9143161"/>
                    <a:gd name="connsiteY16" fmla="*/ 770205 h 3417108"/>
                    <a:gd name="connsiteX17" fmla="*/ 6553199 w 9143161"/>
                    <a:gd name="connsiteY17" fmla="*/ 804536 h 3417108"/>
                    <a:gd name="connsiteX18" fmla="*/ 5823856 w 9143161"/>
                    <a:gd name="connsiteY18" fmla="*/ 880736 h 3417108"/>
                    <a:gd name="connsiteX19" fmla="*/ 4920342 w 9143161"/>
                    <a:gd name="connsiteY19" fmla="*/ 967822 h 3417108"/>
                    <a:gd name="connsiteX20" fmla="*/ 3080656 w 9143161"/>
                    <a:gd name="connsiteY20" fmla="*/ 1327051 h 3417108"/>
                    <a:gd name="connsiteX21" fmla="*/ 5333998 w 9143161"/>
                    <a:gd name="connsiteY21" fmla="*/ 1991080 h 3417108"/>
                    <a:gd name="connsiteX22" fmla="*/ 5758542 w 9143161"/>
                    <a:gd name="connsiteY22" fmla="*/ 2197908 h 3417108"/>
                    <a:gd name="connsiteX23" fmla="*/ 4125685 w 9143161"/>
                    <a:gd name="connsiteY23" fmla="*/ 2404736 h 3417108"/>
                    <a:gd name="connsiteX24" fmla="*/ 1894113 w 9143161"/>
                    <a:gd name="connsiteY24" fmla="*/ 2470051 h 3417108"/>
                    <a:gd name="connsiteX25" fmla="*/ 0 w 9143161"/>
                    <a:gd name="connsiteY25" fmla="*/ 2491822 h 3417108"/>
                    <a:gd name="connsiteX26" fmla="*/ 0 w 9143161"/>
                    <a:gd name="connsiteY26" fmla="*/ 3417108 h 3417108"/>
                    <a:gd name="connsiteX0" fmla="*/ 0 w 9143161"/>
                    <a:gd name="connsiteY0" fmla="*/ 3462559 h 3462559"/>
                    <a:gd name="connsiteX1" fmla="*/ 718456 w 9143161"/>
                    <a:gd name="connsiteY1" fmla="*/ 3451673 h 3462559"/>
                    <a:gd name="connsiteX2" fmla="*/ 3973285 w 9143161"/>
                    <a:gd name="connsiteY2" fmla="*/ 3462558 h 3462559"/>
                    <a:gd name="connsiteX3" fmla="*/ 6923314 w 9143161"/>
                    <a:gd name="connsiteY3" fmla="*/ 3146874 h 3462559"/>
                    <a:gd name="connsiteX4" fmla="*/ 7968342 w 9143161"/>
                    <a:gd name="connsiteY4" fmla="*/ 2210701 h 3462559"/>
                    <a:gd name="connsiteX5" fmla="*/ 5083627 w 9143161"/>
                    <a:gd name="connsiteY5" fmla="*/ 1437817 h 3462559"/>
                    <a:gd name="connsiteX6" fmla="*/ 5682342 w 9143161"/>
                    <a:gd name="connsiteY6" fmla="*/ 1296302 h 3462559"/>
                    <a:gd name="connsiteX7" fmla="*/ 8000998 w 9143161"/>
                    <a:gd name="connsiteY7" fmla="*/ 1024159 h 3462559"/>
                    <a:gd name="connsiteX8" fmla="*/ 7722157 w 9143161"/>
                    <a:gd name="connsiteY8" fmla="*/ 668280 h 3462559"/>
                    <a:gd name="connsiteX9" fmla="*/ 6825341 w 9143161"/>
                    <a:gd name="connsiteY9" fmla="*/ 371015 h 3462559"/>
                    <a:gd name="connsiteX10" fmla="*/ 9143161 w 9143161"/>
                    <a:gd name="connsiteY10" fmla="*/ 345057 h 3462559"/>
                    <a:gd name="connsiteX11" fmla="*/ 9142325 w 9143161"/>
                    <a:gd name="connsiteY11" fmla="*/ 88825 h 3462559"/>
                    <a:gd name="connsiteX12" fmla="*/ 6640285 w 9143161"/>
                    <a:gd name="connsiteY12" fmla="*/ 901 h 3462559"/>
                    <a:gd name="connsiteX13" fmla="*/ 5050970 w 9143161"/>
                    <a:gd name="connsiteY13" fmla="*/ 66215 h 3462559"/>
                    <a:gd name="connsiteX14" fmla="*/ 5007428 w 9143161"/>
                    <a:gd name="connsiteY14" fmla="*/ 381902 h 3462559"/>
                    <a:gd name="connsiteX15" fmla="*/ 5910942 w 9143161"/>
                    <a:gd name="connsiteY15" fmla="*/ 610502 h 3462559"/>
                    <a:gd name="connsiteX16" fmla="*/ 6735743 w 9143161"/>
                    <a:gd name="connsiteY16" fmla="*/ 815656 h 3462559"/>
                    <a:gd name="connsiteX17" fmla="*/ 6553199 w 9143161"/>
                    <a:gd name="connsiteY17" fmla="*/ 849987 h 3462559"/>
                    <a:gd name="connsiteX18" fmla="*/ 5823856 w 9143161"/>
                    <a:gd name="connsiteY18" fmla="*/ 926187 h 3462559"/>
                    <a:gd name="connsiteX19" fmla="*/ 4920342 w 9143161"/>
                    <a:gd name="connsiteY19" fmla="*/ 1013273 h 3462559"/>
                    <a:gd name="connsiteX20" fmla="*/ 3080656 w 9143161"/>
                    <a:gd name="connsiteY20" fmla="*/ 1372502 h 3462559"/>
                    <a:gd name="connsiteX21" fmla="*/ 5333998 w 9143161"/>
                    <a:gd name="connsiteY21" fmla="*/ 2036531 h 3462559"/>
                    <a:gd name="connsiteX22" fmla="*/ 5758542 w 9143161"/>
                    <a:gd name="connsiteY22" fmla="*/ 2243359 h 3462559"/>
                    <a:gd name="connsiteX23" fmla="*/ 4125685 w 9143161"/>
                    <a:gd name="connsiteY23" fmla="*/ 2450187 h 3462559"/>
                    <a:gd name="connsiteX24" fmla="*/ 1894113 w 9143161"/>
                    <a:gd name="connsiteY24" fmla="*/ 2515502 h 3462559"/>
                    <a:gd name="connsiteX25" fmla="*/ 0 w 9143161"/>
                    <a:gd name="connsiteY25" fmla="*/ 2537273 h 3462559"/>
                    <a:gd name="connsiteX26" fmla="*/ 0 w 9143161"/>
                    <a:gd name="connsiteY26" fmla="*/ 3462559 h 3462559"/>
                    <a:gd name="connsiteX0" fmla="*/ 0 w 9164097"/>
                    <a:gd name="connsiteY0" fmla="*/ 3493477 h 3493477"/>
                    <a:gd name="connsiteX1" fmla="*/ 718456 w 9164097"/>
                    <a:gd name="connsiteY1" fmla="*/ 3482591 h 3493477"/>
                    <a:gd name="connsiteX2" fmla="*/ 3973285 w 9164097"/>
                    <a:gd name="connsiteY2" fmla="*/ 3493476 h 3493477"/>
                    <a:gd name="connsiteX3" fmla="*/ 6923314 w 9164097"/>
                    <a:gd name="connsiteY3" fmla="*/ 3177792 h 3493477"/>
                    <a:gd name="connsiteX4" fmla="*/ 7968342 w 9164097"/>
                    <a:gd name="connsiteY4" fmla="*/ 2241619 h 3493477"/>
                    <a:gd name="connsiteX5" fmla="*/ 5083627 w 9164097"/>
                    <a:gd name="connsiteY5" fmla="*/ 1468735 h 3493477"/>
                    <a:gd name="connsiteX6" fmla="*/ 5682342 w 9164097"/>
                    <a:gd name="connsiteY6" fmla="*/ 1327220 h 3493477"/>
                    <a:gd name="connsiteX7" fmla="*/ 8000998 w 9164097"/>
                    <a:gd name="connsiteY7" fmla="*/ 1055077 h 3493477"/>
                    <a:gd name="connsiteX8" fmla="*/ 7722157 w 9164097"/>
                    <a:gd name="connsiteY8" fmla="*/ 699198 h 3493477"/>
                    <a:gd name="connsiteX9" fmla="*/ 6825341 w 9164097"/>
                    <a:gd name="connsiteY9" fmla="*/ 401933 h 3493477"/>
                    <a:gd name="connsiteX10" fmla="*/ 9143161 w 9164097"/>
                    <a:gd name="connsiteY10" fmla="*/ 375975 h 3493477"/>
                    <a:gd name="connsiteX11" fmla="*/ 9164097 w 9164097"/>
                    <a:gd name="connsiteY11" fmla="*/ 0 h 3493477"/>
                    <a:gd name="connsiteX12" fmla="*/ 6640285 w 9164097"/>
                    <a:gd name="connsiteY12" fmla="*/ 31819 h 3493477"/>
                    <a:gd name="connsiteX13" fmla="*/ 5050970 w 9164097"/>
                    <a:gd name="connsiteY13" fmla="*/ 97133 h 3493477"/>
                    <a:gd name="connsiteX14" fmla="*/ 5007428 w 9164097"/>
                    <a:gd name="connsiteY14" fmla="*/ 412820 h 3493477"/>
                    <a:gd name="connsiteX15" fmla="*/ 5910942 w 9164097"/>
                    <a:gd name="connsiteY15" fmla="*/ 641420 h 3493477"/>
                    <a:gd name="connsiteX16" fmla="*/ 6735743 w 9164097"/>
                    <a:gd name="connsiteY16" fmla="*/ 846574 h 3493477"/>
                    <a:gd name="connsiteX17" fmla="*/ 6553199 w 9164097"/>
                    <a:gd name="connsiteY17" fmla="*/ 880905 h 3493477"/>
                    <a:gd name="connsiteX18" fmla="*/ 5823856 w 9164097"/>
                    <a:gd name="connsiteY18" fmla="*/ 957105 h 3493477"/>
                    <a:gd name="connsiteX19" fmla="*/ 4920342 w 9164097"/>
                    <a:gd name="connsiteY19" fmla="*/ 1044191 h 3493477"/>
                    <a:gd name="connsiteX20" fmla="*/ 3080656 w 9164097"/>
                    <a:gd name="connsiteY20" fmla="*/ 1403420 h 3493477"/>
                    <a:gd name="connsiteX21" fmla="*/ 5333998 w 9164097"/>
                    <a:gd name="connsiteY21" fmla="*/ 2067449 h 3493477"/>
                    <a:gd name="connsiteX22" fmla="*/ 5758542 w 9164097"/>
                    <a:gd name="connsiteY22" fmla="*/ 2274277 h 3493477"/>
                    <a:gd name="connsiteX23" fmla="*/ 4125685 w 9164097"/>
                    <a:gd name="connsiteY23" fmla="*/ 2481105 h 3493477"/>
                    <a:gd name="connsiteX24" fmla="*/ 1894113 w 9164097"/>
                    <a:gd name="connsiteY24" fmla="*/ 2546420 h 3493477"/>
                    <a:gd name="connsiteX25" fmla="*/ 0 w 9164097"/>
                    <a:gd name="connsiteY25" fmla="*/ 2568191 h 3493477"/>
                    <a:gd name="connsiteX26" fmla="*/ 0 w 9164097"/>
                    <a:gd name="connsiteY26"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5007428 w 9143161"/>
                    <a:gd name="connsiteY14" fmla="*/ 412820 h 3493477"/>
                    <a:gd name="connsiteX15" fmla="*/ 5910942 w 9143161"/>
                    <a:gd name="connsiteY15" fmla="*/ 641420 h 3493477"/>
                    <a:gd name="connsiteX16" fmla="*/ 6735743 w 9143161"/>
                    <a:gd name="connsiteY16" fmla="*/ 846574 h 3493477"/>
                    <a:gd name="connsiteX17" fmla="*/ 6553199 w 9143161"/>
                    <a:gd name="connsiteY17" fmla="*/ 880905 h 3493477"/>
                    <a:gd name="connsiteX18" fmla="*/ 5823856 w 9143161"/>
                    <a:gd name="connsiteY18" fmla="*/ 957105 h 3493477"/>
                    <a:gd name="connsiteX19" fmla="*/ 4920342 w 9143161"/>
                    <a:gd name="connsiteY19" fmla="*/ 1044191 h 3493477"/>
                    <a:gd name="connsiteX20" fmla="*/ 3080656 w 9143161"/>
                    <a:gd name="connsiteY20" fmla="*/ 1403420 h 3493477"/>
                    <a:gd name="connsiteX21" fmla="*/ 5333998 w 9143161"/>
                    <a:gd name="connsiteY21" fmla="*/ 2067449 h 3493477"/>
                    <a:gd name="connsiteX22" fmla="*/ 5758542 w 9143161"/>
                    <a:gd name="connsiteY22" fmla="*/ 2274277 h 3493477"/>
                    <a:gd name="connsiteX23" fmla="*/ 4125685 w 9143161"/>
                    <a:gd name="connsiteY23" fmla="*/ 2481105 h 3493477"/>
                    <a:gd name="connsiteX24" fmla="*/ 1894113 w 9143161"/>
                    <a:gd name="connsiteY24" fmla="*/ 2546420 h 3493477"/>
                    <a:gd name="connsiteX25" fmla="*/ 0 w 9143161"/>
                    <a:gd name="connsiteY25" fmla="*/ 2568191 h 3493477"/>
                    <a:gd name="connsiteX26" fmla="*/ 0 w 9143161"/>
                    <a:gd name="connsiteY26"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5007428 w 9143161"/>
                    <a:gd name="connsiteY14" fmla="*/ 412820 h 3493477"/>
                    <a:gd name="connsiteX15" fmla="*/ 5910942 w 9143161"/>
                    <a:gd name="connsiteY15" fmla="*/ 641420 h 3493477"/>
                    <a:gd name="connsiteX16" fmla="*/ 6735743 w 9143161"/>
                    <a:gd name="connsiteY16" fmla="*/ 846574 h 3493477"/>
                    <a:gd name="connsiteX17" fmla="*/ 6553199 w 9143161"/>
                    <a:gd name="connsiteY17" fmla="*/ 880905 h 3493477"/>
                    <a:gd name="connsiteX18" fmla="*/ 5823856 w 9143161"/>
                    <a:gd name="connsiteY18" fmla="*/ 957105 h 3493477"/>
                    <a:gd name="connsiteX19" fmla="*/ 4920342 w 9143161"/>
                    <a:gd name="connsiteY19" fmla="*/ 1044191 h 3493477"/>
                    <a:gd name="connsiteX20" fmla="*/ 3080656 w 9143161"/>
                    <a:gd name="connsiteY20" fmla="*/ 1403420 h 3493477"/>
                    <a:gd name="connsiteX21" fmla="*/ 5333998 w 9143161"/>
                    <a:gd name="connsiteY21" fmla="*/ 2067449 h 3493477"/>
                    <a:gd name="connsiteX22" fmla="*/ 5758542 w 9143161"/>
                    <a:gd name="connsiteY22" fmla="*/ 2274277 h 3493477"/>
                    <a:gd name="connsiteX23" fmla="*/ 4125685 w 9143161"/>
                    <a:gd name="connsiteY23" fmla="*/ 2481105 h 3493477"/>
                    <a:gd name="connsiteX24" fmla="*/ 1894113 w 9143161"/>
                    <a:gd name="connsiteY24" fmla="*/ 2546420 h 3493477"/>
                    <a:gd name="connsiteX25" fmla="*/ 0 w 9143161"/>
                    <a:gd name="connsiteY25" fmla="*/ 2568191 h 3493477"/>
                    <a:gd name="connsiteX26" fmla="*/ 0 w 9143161"/>
                    <a:gd name="connsiteY26"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5007428 w 9143161"/>
                    <a:gd name="connsiteY14" fmla="*/ 412820 h 3493477"/>
                    <a:gd name="connsiteX15" fmla="*/ 5910942 w 9143161"/>
                    <a:gd name="connsiteY15" fmla="*/ 641420 h 3493477"/>
                    <a:gd name="connsiteX16" fmla="*/ 6735743 w 9143161"/>
                    <a:gd name="connsiteY16" fmla="*/ 846574 h 3493477"/>
                    <a:gd name="connsiteX17" fmla="*/ 6553199 w 9143161"/>
                    <a:gd name="connsiteY17" fmla="*/ 880905 h 3493477"/>
                    <a:gd name="connsiteX18" fmla="*/ 5823856 w 9143161"/>
                    <a:gd name="connsiteY18" fmla="*/ 957105 h 3493477"/>
                    <a:gd name="connsiteX19" fmla="*/ 4920342 w 9143161"/>
                    <a:gd name="connsiteY19" fmla="*/ 1044191 h 3493477"/>
                    <a:gd name="connsiteX20" fmla="*/ 3080656 w 9143161"/>
                    <a:gd name="connsiteY20" fmla="*/ 1403420 h 3493477"/>
                    <a:gd name="connsiteX21" fmla="*/ 5333998 w 9143161"/>
                    <a:gd name="connsiteY21" fmla="*/ 2067449 h 3493477"/>
                    <a:gd name="connsiteX22" fmla="*/ 5758542 w 9143161"/>
                    <a:gd name="connsiteY22" fmla="*/ 2274277 h 3493477"/>
                    <a:gd name="connsiteX23" fmla="*/ 4125685 w 9143161"/>
                    <a:gd name="connsiteY23" fmla="*/ 2481105 h 3493477"/>
                    <a:gd name="connsiteX24" fmla="*/ 1894113 w 9143161"/>
                    <a:gd name="connsiteY24" fmla="*/ 2546420 h 3493477"/>
                    <a:gd name="connsiteX25" fmla="*/ 0 w 9143161"/>
                    <a:gd name="connsiteY25" fmla="*/ 2568191 h 3493477"/>
                    <a:gd name="connsiteX26" fmla="*/ 0 w 9143161"/>
                    <a:gd name="connsiteY26"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5007428 w 9143161"/>
                    <a:gd name="connsiteY14" fmla="*/ 412820 h 3493477"/>
                    <a:gd name="connsiteX15" fmla="*/ 5910942 w 9143161"/>
                    <a:gd name="connsiteY15" fmla="*/ 641420 h 3493477"/>
                    <a:gd name="connsiteX16" fmla="*/ 6735743 w 9143161"/>
                    <a:gd name="connsiteY16" fmla="*/ 846574 h 3493477"/>
                    <a:gd name="connsiteX17" fmla="*/ 6553199 w 9143161"/>
                    <a:gd name="connsiteY17" fmla="*/ 880905 h 3493477"/>
                    <a:gd name="connsiteX18" fmla="*/ 5823856 w 9143161"/>
                    <a:gd name="connsiteY18" fmla="*/ 957105 h 3493477"/>
                    <a:gd name="connsiteX19" fmla="*/ 4920342 w 9143161"/>
                    <a:gd name="connsiteY19" fmla="*/ 1044191 h 3493477"/>
                    <a:gd name="connsiteX20" fmla="*/ 3080656 w 9143161"/>
                    <a:gd name="connsiteY20" fmla="*/ 1403420 h 3493477"/>
                    <a:gd name="connsiteX21" fmla="*/ 5333998 w 9143161"/>
                    <a:gd name="connsiteY21" fmla="*/ 2067449 h 3493477"/>
                    <a:gd name="connsiteX22" fmla="*/ 5758542 w 9143161"/>
                    <a:gd name="connsiteY22" fmla="*/ 2274277 h 3493477"/>
                    <a:gd name="connsiteX23" fmla="*/ 4125685 w 9143161"/>
                    <a:gd name="connsiteY23" fmla="*/ 2481105 h 3493477"/>
                    <a:gd name="connsiteX24" fmla="*/ 1894113 w 9143161"/>
                    <a:gd name="connsiteY24" fmla="*/ 2546420 h 3493477"/>
                    <a:gd name="connsiteX25" fmla="*/ 0 w 9143161"/>
                    <a:gd name="connsiteY25" fmla="*/ 2568191 h 3493477"/>
                    <a:gd name="connsiteX26" fmla="*/ 0 w 9143161"/>
                    <a:gd name="connsiteY26"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5910942 w 9143161"/>
                    <a:gd name="connsiteY15" fmla="*/ 641420 h 3493477"/>
                    <a:gd name="connsiteX16" fmla="*/ 6735743 w 9143161"/>
                    <a:gd name="connsiteY16" fmla="*/ 846574 h 3493477"/>
                    <a:gd name="connsiteX17" fmla="*/ 6553199 w 9143161"/>
                    <a:gd name="connsiteY17" fmla="*/ 880905 h 3493477"/>
                    <a:gd name="connsiteX18" fmla="*/ 5823856 w 9143161"/>
                    <a:gd name="connsiteY18" fmla="*/ 957105 h 3493477"/>
                    <a:gd name="connsiteX19" fmla="*/ 4920342 w 9143161"/>
                    <a:gd name="connsiteY19" fmla="*/ 1044191 h 3493477"/>
                    <a:gd name="connsiteX20" fmla="*/ 3080656 w 9143161"/>
                    <a:gd name="connsiteY20" fmla="*/ 1403420 h 3493477"/>
                    <a:gd name="connsiteX21" fmla="*/ 5333998 w 9143161"/>
                    <a:gd name="connsiteY21" fmla="*/ 2067449 h 3493477"/>
                    <a:gd name="connsiteX22" fmla="*/ 5758542 w 9143161"/>
                    <a:gd name="connsiteY22" fmla="*/ 2274277 h 3493477"/>
                    <a:gd name="connsiteX23" fmla="*/ 4125685 w 9143161"/>
                    <a:gd name="connsiteY23" fmla="*/ 2481105 h 3493477"/>
                    <a:gd name="connsiteX24" fmla="*/ 1894113 w 9143161"/>
                    <a:gd name="connsiteY24" fmla="*/ 2546420 h 3493477"/>
                    <a:gd name="connsiteX25" fmla="*/ 0 w 9143161"/>
                    <a:gd name="connsiteY25" fmla="*/ 2568191 h 3493477"/>
                    <a:gd name="connsiteX26" fmla="*/ 0 w 9143161"/>
                    <a:gd name="connsiteY26"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5910942 w 9143161"/>
                    <a:gd name="connsiteY15" fmla="*/ 641420 h 3493477"/>
                    <a:gd name="connsiteX16" fmla="*/ 6735743 w 9143161"/>
                    <a:gd name="connsiteY16" fmla="*/ 846574 h 3493477"/>
                    <a:gd name="connsiteX17" fmla="*/ 6553199 w 9143161"/>
                    <a:gd name="connsiteY17" fmla="*/ 880905 h 3493477"/>
                    <a:gd name="connsiteX18" fmla="*/ 5823856 w 9143161"/>
                    <a:gd name="connsiteY18" fmla="*/ 957105 h 3493477"/>
                    <a:gd name="connsiteX19" fmla="*/ 4920342 w 9143161"/>
                    <a:gd name="connsiteY19" fmla="*/ 1044191 h 3493477"/>
                    <a:gd name="connsiteX20" fmla="*/ 3385456 w 9143161"/>
                    <a:gd name="connsiteY20" fmla="*/ 1403420 h 3493477"/>
                    <a:gd name="connsiteX21" fmla="*/ 5333998 w 9143161"/>
                    <a:gd name="connsiteY21" fmla="*/ 2067449 h 3493477"/>
                    <a:gd name="connsiteX22" fmla="*/ 5758542 w 9143161"/>
                    <a:gd name="connsiteY22" fmla="*/ 2274277 h 3493477"/>
                    <a:gd name="connsiteX23" fmla="*/ 4125685 w 9143161"/>
                    <a:gd name="connsiteY23" fmla="*/ 2481105 h 3493477"/>
                    <a:gd name="connsiteX24" fmla="*/ 1894113 w 9143161"/>
                    <a:gd name="connsiteY24" fmla="*/ 2546420 h 3493477"/>
                    <a:gd name="connsiteX25" fmla="*/ 0 w 9143161"/>
                    <a:gd name="connsiteY25" fmla="*/ 2568191 h 3493477"/>
                    <a:gd name="connsiteX26" fmla="*/ 0 w 9143161"/>
                    <a:gd name="connsiteY26"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5910942 w 9143161"/>
                    <a:gd name="connsiteY15" fmla="*/ 641420 h 3493477"/>
                    <a:gd name="connsiteX16" fmla="*/ 6735743 w 9143161"/>
                    <a:gd name="connsiteY16" fmla="*/ 846574 h 3493477"/>
                    <a:gd name="connsiteX17" fmla="*/ 5823856 w 9143161"/>
                    <a:gd name="connsiteY17" fmla="*/ 957105 h 3493477"/>
                    <a:gd name="connsiteX18" fmla="*/ 4920342 w 9143161"/>
                    <a:gd name="connsiteY18" fmla="*/ 1044191 h 3493477"/>
                    <a:gd name="connsiteX19" fmla="*/ 3385456 w 9143161"/>
                    <a:gd name="connsiteY19" fmla="*/ 1403420 h 3493477"/>
                    <a:gd name="connsiteX20" fmla="*/ 5333998 w 9143161"/>
                    <a:gd name="connsiteY20" fmla="*/ 2067449 h 3493477"/>
                    <a:gd name="connsiteX21" fmla="*/ 5758542 w 9143161"/>
                    <a:gd name="connsiteY21" fmla="*/ 2274277 h 3493477"/>
                    <a:gd name="connsiteX22" fmla="*/ 4125685 w 9143161"/>
                    <a:gd name="connsiteY22" fmla="*/ 2481105 h 3493477"/>
                    <a:gd name="connsiteX23" fmla="*/ 1894113 w 9143161"/>
                    <a:gd name="connsiteY23" fmla="*/ 2546420 h 3493477"/>
                    <a:gd name="connsiteX24" fmla="*/ 0 w 9143161"/>
                    <a:gd name="connsiteY24" fmla="*/ 2568191 h 3493477"/>
                    <a:gd name="connsiteX25" fmla="*/ 0 w 9143161"/>
                    <a:gd name="connsiteY25"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6735743 w 9143161"/>
                    <a:gd name="connsiteY15" fmla="*/ 846574 h 3493477"/>
                    <a:gd name="connsiteX16" fmla="*/ 5823856 w 9143161"/>
                    <a:gd name="connsiteY16" fmla="*/ 957105 h 3493477"/>
                    <a:gd name="connsiteX17" fmla="*/ 4920342 w 9143161"/>
                    <a:gd name="connsiteY17" fmla="*/ 1044191 h 3493477"/>
                    <a:gd name="connsiteX18" fmla="*/ 3385456 w 9143161"/>
                    <a:gd name="connsiteY18" fmla="*/ 1403420 h 3493477"/>
                    <a:gd name="connsiteX19" fmla="*/ 5333998 w 9143161"/>
                    <a:gd name="connsiteY19" fmla="*/ 2067449 h 3493477"/>
                    <a:gd name="connsiteX20" fmla="*/ 5758542 w 9143161"/>
                    <a:gd name="connsiteY20" fmla="*/ 2274277 h 3493477"/>
                    <a:gd name="connsiteX21" fmla="*/ 4125685 w 9143161"/>
                    <a:gd name="connsiteY21" fmla="*/ 2481105 h 3493477"/>
                    <a:gd name="connsiteX22" fmla="*/ 1894113 w 9143161"/>
                    <a:gd name="connsiteY22" fmla="*/ 2546420 h 3493477"/>
                    <a:gd name="connsiteX23" fmla="*/ 0 w 9143161"/>
                    <a:gd name="connsiteY23" fmla="*/ 2568191 h 3493477"/>
                    <a:gd name="connsiteX24" fmla="*/ 0 w 9143161"/>
                    <a:gd name="connsiteY24"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6735743 w 9143161"/>
                    <a:gd name="connsiteY15" fmla="*/ 846574 h 3493477"/>
                    <a:gd name="connsiteX16" fmla="*/ 4920342 w 9143161"/>
                    <a:gd name="connsiteY16" fmla="*/ 1044191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699198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6735743 w 9143161"/>
                    <a:gd name="connsiteY15" fmla="*/ 846574 h 3493477"/>
                    <a:gd name="connsiteX16" fmla="*/ 4898571 w 9143161"/>
                    <a:gd name="connsiteY16" fmla="*/ 989762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33043 w 9143161"/>
                    <a:gd name="connsiteY8" fmla="*/ 655655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6735743 w 9143161"/>
                    <a:gd name="connsiteY15" fmla="*/ 846574 h 3493477"/>
                    <a:gd name="connsiteX16" fmla="*/ 4898571 w 9143161"/>
                    <a:gd name="connsiteY16" fmla="*/ 989762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720969 h 3493477"/>
                    <a:gd name="connsiteX9" fmla="*/ 68253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6735743 w 9143161"/>
                    <a:gd name="connsiteY15" fmla="*/ 846574 h 3493477"/>
                    <a:gd name="connsiteX16" fmla="*/ 4898571 w 9143161"/>
                    <a:gd name="connsiteY16" fmla="*/ 989762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7722157 w 9143161"/>
                    <a:gd name="connsiteY8" fmla="*/ 720969 h 3493477"/>
                    <a:gd name="connsiteX9" fmla="*/ 6977741 w 9143161"/>
                    <a:gd name="connsiteY9" fmla="*/ 401933 h 3493477"/>
                    <a:gd name="connsiteX10" fmla="*/ 9143161 w 9143161"/>
                    <a:gd name="connsiteY10" fmla="*/ 375975 h 3493477"/>
                    <a:gd name="connsiteX11" fmla="*/ 9142326 w 9143161"/>
                    <a:gd name="connsiteY11" fmla="*/ 0 h 3493477"/>
                    <a:gd name="connsiteX12" fmla="*/ 6640285 w 9143161"/>
                    <a:gd name="connsiteY12" fmla="*/ 31819 h 3493477"/>
                    <a:gd name="connsiteX13" fmla="*/ 5050970 w 9143161"/>
                    <a:gd name="connsiteY13" fmla="*/ 97133 h 3493477"/>
                    <a:gd name="connsiteX14" fmla="*/ 4996542 w 9143161"/>
                    <a:gd name="connsiteY14" fmla="*/ 369277 h 3493477"/>
                    <a:gd name="connsiteX15" fmla="*/ 6735743 w 9143161"/>
                    <a:gd name="connsiteY15" fmla="*/ 846574 h 3493477"/>
                    <a:gd name="connsiteX16" fmla="*/ 4898571 w 9143161"/>
                    <a:gd name="connsiteY16" fmla="*/ 989762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000998 w 9143161"/>
                    <a:gd name="connsiteY7" fmla="*/ 1055077 h 3493477"/>
                    <a:gd name="connsiteX8" fmla="*/ 6977741 w 9143161"/>
                    <a:gd name="connsiteY8" fmla="*/ 401933 h 3493477"/>
                    <a:gd name="connsiteX9" fmla="*/ 9143161 w 9143161"/>
                    <a:gd name="connsiteY9" fmla="*/ 375975 h 3493477"/>
                    <a:gd name="connsiteX10" fmla="*/ 9142326 w 9143161"/>
                    <a:gd name="connsiteY10" fmla="*/ 0 h 3493477"/>
                    <a:gd name="connsiteX11" fmla="*/ 6640285 w 9143161"/>
                    <a:gd name="connsiteY11" fmla="*/ 31819 h 3493477"/>
                    <a:gd name="connsiteX12" fmla="*/ 5050970 w 9143161"/>
                    <a:gd name="connsiteY12" fmla="*/ 97133 h 3493477"/>
                    <a:gd name="connsiteX13" fmla="*/ 4996542 w 9143161"/>
                    <a:gd name="connsiteY13" fmla="*/ 369277 h 3493477"/>
                    <a:gd name="connsiteX14" fmla="*/ 6735743 w 9143161"/>
                    <a:gd name="connsiteY14" fmla="*/ 846574 h 3493477"/>
                    <a:gd name="connsiteX15" fmla="*/ 4898571 w 9143161"/>
                    <a:gd name="connsiteY15" fmla="*/ 989762 h 3493477"/>
                    <a:gd name="connsiteX16" fmla="*/ 3385456 w 9143161"/>
                    <a:gd name="connsiteY16" fmla="*/ 1403420 h 3493477"/>
                    <a:gd name="connsiteX17" fmla="*/ 5333998 w 9143161"/>
                    <a:gd name="connsiteY17" fmla="*/ 2067449 h 3493477"/>
                    <a:gd name="connsiteX18" fmla="*/ 5758542 w 9143161"/>
                    <a:gd name="connsiteY18" fmla="*/ 2274277 h 3493477"/>
                    <a:gd name="connsiteX19" fmla="*/ 4125685 w 9143161"/>
                    <a:gd name="connsiteY19" fmla="*/ 2481105 h 3493477"/>
                    <a:gd name="connsiteX20" fmla="*/ 1894113 w 9143161"/>
                    <a:gd name="connsiteY20" fmla="*/ 2546420 h 3493477"/>
                    <a:gd name="connsiteX21" fmla="*/ 0 w 9143161"/>
                    <a:gd name="connsiteY21" fmla="*/ 2568191 h 3493477"/>
                    <a:gd name="connsiteX22" fmla="*/ 0 w 9143161"/>
                    <a:gd name="connsiteY22"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207827 w 9143161"/>
                    <a:gd name="connsiteY7" fmla="*/ 1000649 h 3493477"/>
                    <a:gd name="connsiteX8" fmla="*/ 6977741 w 9143161"/>
                    <a:gd name="connsiteY8" fmla="*/ 401933 h 3493477"/>
                    <a:gd name="connsiteX9" fmla="*/ 9143161 w 9143161"/>
                    <a:gd name="connsiteY9" fmla="*/ 375975 h 3493477"/>
                    <a:gd name="connsiteX10" fmla="*/ 9142326 w 9143161"/>
                    <a:gd name="connsiteY10" fmla="*/ 0 h 3493477"/>
                    <a:gd name="connsiteX11" fmla="*/ 6640285 w 9143161"/>
                    <a:gd name="connsiteY11" fmla="*/ 31819 h 3493477"/>
                    <a:gd name="connsiteX12" fmla="*/ 5050970 w 9143161"/>
                    <a:gd name="connsiteY12" fmla="*/ 97133 h 3493477"/>
                    <a:gd name="connsiteX13" fmla="*/ 4996542 w 9143161"/>
                    <a:gd name="connsiteY13" fmla="*/ 369277 h 3493477"/>
                    <a:gd name="connsiteX14" fmla="*/ 6735743 w 9143161"/>
                    <a:gd name="connsiteY14" fmla="*/ 846574 h 3493477"/>
                    <a:gd name="connsiteX15" fmla="*/ 4898571 w 9143161"/>
                    <a:gd name="connsiteY15" fmla="*/ 989762 h 3493477"/>
                    <a:gd name="connsiteX16" fmla="*/ 3385456 w 9143161"/>
                    <a:gd name="connsiteY16" fmla="*/ 1403420 h 3493477"/>
                    <a:gd name="connsiteX17" fmla="*/ 5333998 w 9143161"/>
                    <a:gd name="connsiteY17" fmla="*/ 2067449 h 3493477"/>
                    <a:gd name="connsiteX18" fmla="*/ 5758542 w 9143161"/>
                    <a:gd name="connsiteY18" fmla="*/ 2274277 h 3493477"/>
                    <a:gd name="connsiteX19" fmla="*/ 4125685 w 9143161"/>
                    <a:gd name="connsiteY19" fmla="*/ 2481105 h 3493477"/>
                    <a:gd name="connsiteX20" fmla="*/ 1894113 w 9143161"/>
                    <a:gd name="connsiteY20" fmla="*/ 2546420 h 3493477"/>
                    <a:gd name="connsiteX21" fmla="*/ 0 w 9143161"/>
                    <a:gd name="connsiteY21" fmla="*/ 2568191 h 3493477"/>
                    <a:gd name="connsiteX22" fmla="*/ 0 w 9143161"/>
                    <a:gd name="connsiteY22"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207827 w 9143161"/>
                    <a:gd name="connsiteY7" fmla="*/ 1000649 h 3493477"/>
                    <a:gd name="connsiteX8" fmla="*/ 6977741 w 9143161"/>
                    <a:gd name="connsiteY8" fmla="*/ 401933 h 3493477"/>
                    <a:gd name="connsiteX9" fmla="*/ 9143161 w 9143161"/>
                    <a:gd name="connsiteY9" fmla="*/ 375975 h 3493477"/>
                    <a:gd name="connsiteX10" fmla="*/ 9142326 w 9143161"/>
                    <a:gd name="connsiteY10" fmla="*/ 0 h 3493477"/>
                    <a:gd name="connsiteX11" fmla="*/ 6640285 w 9143161"/>
                    <a:gd name="connsiteY11" fmla="*/ 31819 h 3493477"/>
                    <a:gd name="connsiteX12" fmla="*/ 5050970 w 9143161"/>
                    <a:gd name="connsiteY12" fmla="*/ 97133 h 3493477"/>
                    <a:gd name="connsiteX13" fmla="*/ 4996542 w 9143161"/>
                    <a:gd name="connsiteY13" fmla="*/ 369277 h 3493477"/>
                    <a:gd name="connsiteX14" fmla="*/ 6735743 w 9143161"/>
                    <a:gd name="connsiteY14" fmla="*/ 846574 h 3493477"/>
                    <a:gd name="connsiteX15" fmla="*/ 4604657 w 9143161"/>
                    <a:gd name="connsiteY15" fmla="*/ 978876 h 3493477"/>
                    <a:gd name="connsiteX16" fmla="*/ 3385456 w 9143161"/>
                    <a:gd name="connsiteY16" fmla="*/ 1403420 h 3493477"/>
                    <a:gd name="connsiteX17" fmla="*/ 5333998 w 9143161"/>
                    <a:gd name="connsiteY17" fmla="*/ 2067449 h 3493477"/>
                    <a:gd name="connsiteX18" fmla="*/ 5758542 w 9143161"/>
                    <a:gd name="connsiteY18" fmla="*/ 2274277 h 3493477"/>
                    <a:gd name="connsiteX19" fmla="*/ 4125685 w 9143161"/>
                    <a:gd name="connsiteY19" fmla="*/ 2481105 h 3493477"/>
                    <a:gd name="connsiteX20" fmla="*/ 1894113 w 9143161"/>
                    <a:gd name="connsiteY20" fmla="*/ 2546420 h 3493477"/>
                    <a:gd name="connsiteX21" fmla="*/ 0 w 9143161"/>
                    <a:gd name="connsiteY21" fmla="*/ 2568191 h 3493477"/>
                    <a:gd name="connsiteX22" fmla="*/ 0 w 9143161"/>
                    <a:gd name="connsiteY22"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207827 w 9143161"/>
                    <a:gd name="connsiteY7" fmla="*/ 1000649 h 3493477"/>
                    <a:gd name="connsiteX8" fmla="*/ 6977741 w 9143161"/>
                    <a:gd name="connsiteY8" fmla="*/ 401933 h 3493477"/>
                    <a:gd name="connsiteX9" fmla="*/ 9143161 w 9143161"/>
                    <a:gd name="connsiteY9" fmla="*/ 375975 h 3493477"/>
                    <a:gd name="connsiteX10" fmla="*/ 9142326 w 9143161"/>
                    <a:gd name="connsiteY10" fmla="*/ 0 h 3493477"/>
                    <a:gd name="connsiteX11" fmla="*/ 6640285 w 9143161"/>
                    <a:gd name="connsiteY11" fmla="*/ 31819 h 3493477"/>
                    <a:gd name="connsiteX12" fmla="*/ 5050970 w 9143161"/>
                    <a:gd name="connsiteY12" fmla="*/ 97133 h 3493477"/>
                    <a:gd name="connsiteX13" fmla="*/ 4996542 w 9143161"/>
                    <a:gd name="connsiteY13" fmla="*/ 369277 h 3493477"/>
                    <a:gd name="connsiteX14" fmla="*/ 6735743 w 9143161"/>
                    <a:gd name="connsiteY14" fmla="*/ 846574 h 3493477"/>
                    <a:gd name="connsiteX15" fmla="*/ 6063342 w 9143161"/>
                    <a:gd name="connsiteY15" fmla="*/ 859135 h 3493477"/>
                    <a:gd name="connsiteX16" fmla="*/ 4604657 w 9143161"/>
                    <a:gd name="connsiteY16" fmla="*/ 978876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207827 w 9143161"/>
                    <a:gd name="connsiteY7" fmla="*/ 1000649 h 3493477"/>
                    <a:gd name="connsiteX8" fmla="*/ 6977741 w 9143161"/>
                    <a:gd name="connsiteY8" fmla="*/ 401933 h 3493477"/>
                    <a:gd name="connsiteX9" fmla="*/ 9143161 w 9143161"/>
                    <a:gd name="connsiteY9" fmla="*/ 375975 h 3493477"/>
                    <a:gd name="connsiteX10" fmla="*/ 9142326 w 9143161"/>
                    <a:gd name="connsiteY10" fmla="*/ 0 h 3493477"/>
                    <a:gd name="connsiteX11" fmla="*/ 6640285 w 9143161"/>
                    <a:gd name="connsiteY11" fmla="*/ 31819 h 3493477"/>
                    <a:gd name="connsiteX12" fmla="*/ 5050970 w 9143161"/>
                    <a:gd name="connsiteY12" fmla="*/ 97133 h 3493477"/>
                    <a:gd name="connsiteX13" fmla="*/ 4996542 w 9143161"/>
                    <a:gd name="connsiteY13" fmla="*/ 369277 h 3493477"/>
                    <a:gd name="connsiteX14" fmla="*/ 6561571 w 9143161"/>
                    <a:gd name="connsiteY14" fmla="*/ 792146 h 3493477"/>
                    <a:gd name="connsiteX15" fmla="*/ 6063342 w 9143161"/>
                    <a:gd name="connsiteY15" fmla="*/ 859135 h 3493477"/>
                    <a:gd name="connsiteX16" fmla="*/ 4604657 w 9143161"/>
                    <a:gd name="connsiteY16" fmla="*/ 978876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93477 h 3493477"/>
                    <a:gd name="connsiteX1" fmla="*/ 718456 w 9143161"/>
                    <a:gd name="connsiteY1" fmla="*/ 3482591 h 3493477"/>
                    <a:gd name="connsiteX2" fmla="*/ 3973285 w 9143161"/>
                    <a:gd name="connsiteY2" fmla="*/ 3493476 h 3493477"/>
                    <a:gd name="connsiteX3" fmla="*/ 6923314 w 9143161"/>
                    <a:gd name="connsiteY3" fmla="*/ 3177792 h 3493477"/>
                    <a:gd name="connsiteX4" fmla="*/ 7968342 w 9143161"/>
                    <a:gd name="connsiteY4" fmla="*/ 2241619 h 3493477"/>
                    <a:gd name="connsiteX5" fmla="*/ 5083627 w 9143161"/>
                    <a:gd name="connsiteY5" fmla="*/ 1468735 h 3493477"/>
                    <a:gd name="connsiteX6" fmla="*/ 5682342 w 9143161"/>
                    <a:gd name="connsiteY6" fmla="*/ 1327220 h 3493477"/>
                    <a:gd name="connsiteX7" fmla="*/ 8207827 w 9143161"/>
                    <a:gd name="connsiteY7" fmla="*/ 1000649 h 3493477"/>
                    <a:gd name="connsiteX8" fmla="*/ 6977741 w 9143161"/>
                    <a:gd name="connsiteY8" fmla="*/ 401933 h 3493477"/>
                    <a:gd name="connsiteX9" fmla="*/ 9143161 w 9143161"/>
                    <a:gd name="connsiteY9" fmla="*/ 375975 h 3493477"/>
                    <a:gd name="connsiteX10" fmla="*/ 9142326 w 9143161"/>
                    <a:gd name="connsiteY10" fmla="*/ 0 h 3493477"/>
                    <a:gd name="connsiteX11" fmla="*/ 6640285 w 9143161"/>
                    <a:gd name="connsiteY11" fmla="*/ 31819 h 3493477"/>
                    <a:gd name="connsiteX12" fmla="*/ 5050970 w 9143161"/>
                    <a:gd name="connsiteY12" fmla="*/ 97133 h 3493477"/>
                    <a:gd name="connsiteX13" fmla="*/ 4996542 w 9143161"/>
                    <a:gd name="connsiteY13" fmla="*/ 369277 h 3493477"/>
                    <a:gd name="connsiteX14" fmla="*/ 6561571 w 9143161"/>
                    <a:gd name="connsiteY14" fmla="*/ 792146 h 3493477"/>
                    <a:gd name="connsiteX15" fmla="*/ 6063342 w 9143161"/>
                    <a:gd name="connsiteY15" fmla="*/ 859135 h 3493477"/>
                    <a:gd name="connsiteX16" fmla="*/ 4604657 w 9143161"/>
                    <a:gd name="connsiteY16" fmla="*/ 978876 h 3493477"/>
                    <a:gd name="connsiteX17" fmla="*/ 3385456 w 9143161"/>
                    <a:gd name="connsiteY17" fmla="*/ 1403420 h 3493477"/>
                    <a:gd name="connsiteX18" fmla="*/ 5333998 w 9143161"/>
                    <a:gd name="connsiteY18" fmla="*/ 2067449 h 3493477"/>
                    <a:gd name="connsiteX19" fmla="*/ 5758542 w 9143161"/>
                    <a:gd name="connsiteY19" fmla="*/ 2274277 h 3493477"/>
                    <a:gd name="connsiteX20" fmla="*/ 4125685 w 9143161"/>
                    <a:gd name="connsiteY20" fmla="*/ 2481105 h 3493477"/>
                    <a:gd name="connsiteX21" fmla="*/ 1894113 w 9143161"/>
                    <a:gd name="connsiteY21" fmla="*/ 2546420 h 3493477"/>
                    <a:gd name="connsiteX22" fmla="*/ 0 w 9143161"/>
                    <a:gd name="connsiteY22" fmla="*/ 2568191 h 3493477"/>
                    <a:gd name="connsiteX23" fmla="*/ 0 w 9143161"/>
                    <a:gd name="connsiteY23" fmla="*/ 3493477 h 3493477"/>
                    <a:gd name="connsiteX0" fmla="*/ 0 w 9143161"/>
                    <a:gd name="connsiteY0" fmla="*/ 3480638 h 3493476"/>
                    <a:gd name="connsiteX1" fmla="*/ 718456 w 9143161"/>
                    <a:gd name="connsiteY1" fmla="*/ 3482591 h 3493476"/>
                    <a:gd name="connsiteX2" fmla="*/ 3973285 w 9143161"/>
                    <a:gd name="connsiteY2" fmla="*/ 3493476 h 3493476"/>
                    <a:gd name="connsiteX3" fmla="*/ 6923314 w 9143161"/>
                    <a:gd name="connsiteY3" fmla="*/ 3177792 h 3493476"/>
                    <a:gd name="connsiteX4" fmla="*/ 7968342 w 9143161"/>
                    <a:gd name="connsiteY4" fmla="*/ 2241619 h 3493476"/>
                    <a:gd name="connsiteX5" fmla="*/ 5083627 w 9143161"/>
                    <a:gd name="connsiteY5" fmla="*/ 1468735 h 3493476"/>
                    <a:gd name="connsiteX6" fmla="*/ 5682342 w 9143161"/>
                    <a:gd name="connsiteY6" fmla="*/ 1327220 h 3493476"/>
                    <a:gd name="connsiteX7" fmla="*/ 8207827 w 9143161"/>
                    <a:gd name="connsiteY7" fmla="*/ 1000649 h 3493476"/>
                    <a:gd name="connsiteX8" fmla="*/ 6977741 w 9143161"/>
                    <a:gd name="connsiteY8" fmla="*/ 401933 h 3493476"/>
                    <a:gd name="connsiteX9" fmla="*/ 9143161 w 9143161"/>
                    <a:gd name="connsiteY9" fmla="*/ 375975 h 3493476"/>
                    <a:gd name="connsiteX10" fmla="*/ 9142326 w 9143161"/>
                    <a:gd name="connsiteY10" fmla="*/ 0 h 3493476"/>
                    <a:gd name="connsiteX11" fmla="*/ 6640285 w 9143161"/>
                    <a:gd name="connsiteY11" fmla="*/ 31819 h 3493476"/>
                    <a:gd name="connsiteX12" fmla="*/ 5050970 w 9143161"/>
                    <a:gd name="connsiteY12" fmla="*/ 97133 h 3493476"/>
                    <a:gd name="connsiteX13" fmla="*/ 4996542 w 9143161"/>
                    <a:gd name="connsiteY13" fmla="*/ 369277 h 3493476"/>
                    <a:gd name="connsiteX14" fmla="*/ 6561571 w 9143161"/>
                    <a:gd name="connsiteY14" fmla="*/ 792146 h 3493476"/>
                    <a:gd name="connsiteX15" fmla="*/ 6063342 w 9143161"/>
                    <a:gd name="connsiteY15" fmla="*/ 859135 h 3493476"/>
                    <a:gd name="connsiteX16" fmla="*/ 4604657 w 9143161"/>
                    <a:gd name="connsiteY16" fmla="*/ 978876 h 3493476"/>
                    <a:gd name="connsiteX17" fmla="*/ 3385456 w 9143161"/>
                    <a:gd name="connsiteY17" fmla="*/ 1403420 h 3493476"/>
                    <a:gd name="connsiteX18" fmla="*/ 5333998 w 9143161"/>
                    <a:gd name="connsiteY18" fmla="*/ 2067449 h 3493476"/>
                    <a:gd name="connsiteX19" fmla="*/ 5758542 w 9143161"/>
                    <a:gd name="connsiteY19" fmla="*/ 2274277 h 3493476"/>
                    <a:gd name="connsiteX20" fmla="*/ 4125685 w 9143161"/>
                    <a:gd name="connsiteY20" fmla="*/ 2481105 h 3493476"/>
                    <a:gd name="connsiteX21" fmla="*/ 1894113 w 9143161"/>
                    <a:gd name="connsiteY21" fmla="*/ 2546420 h 3493476"/>
                    <a:gd name="connsiteX22" fmla="*/ 0 w 9143161"/>
                    <a:gd name="connsiteY22" fmla="*/ 2568191 h 3493476"/>
                    <a:gd name="connsiteX23" fmla="*/ 0 w 9143161"/>
                    <a:gd name="connsiteY23" fmla="*/ 3480638 h 3493476"/>
                    <a:gd name="connsiteX0" fmla="*/ 0 w 9143161"/>
                    <a:gd name="connsiteY0" fmla="*/ 3480638 h 3493476"/>
                    <a:gd name="connsiteX1" fmla="*/ 718456 w 9143161"/>
                    <a:gd name="connsiteY1" fmla="*/ 3482591 h 3493476"/>
                    <a:gd name="connsiteX2" fmla="*/ 3973285 w 9143161"/>
                    <a:gd name="connsiteY2" fmla="*/ 3493476 h 3493476"/>
                    <a:gd name="connsiteX3" fmla="*/ 6923314 w 9143161"/>
                    <a:gd name="connsiteY3" fmla="*/ 3177792 h 3493476"/>
                    <a:gd name="connsiteX4" fmla="*/ 7968342 w 9143161"/>
                    <a:gd name="connsiteY4" fmla="*/ 2241619 h 3493476"/>
                    <a:gd name="connsiteX5" fmla="*/ 5083627 w 9143161"/>
                    <a:gd name="connsiteY5" fmla="*/ 1468735 h 3493476"/>
                    <a:gd name="connsiteX6" fmla="*/ 5682342 w 9143161"/>
                    <a:gd name="connsiteY6" fmla="*/ 1327220 h 3493476"/>
                    <a:gd name="connsiteX7" fmla="*/ 8207827 w 9143161"/>
                    <a:gd name="connsiteY7" fmla="*/ 1000649 h 3493476"/>
                    <a:gd name="connsiteX8" fmla="*/ 6977741 w 9143161"/>
                    <a:gd name="connsiteY8" fmla="*/ 401933 h 3493476"/>
                    <a:gd name="connsiteX9" fmla="*/ 9143161 w 9143161"/>
                    <a:gd name="connsiteY9" fmla="*/ 375975 h 3493476"/>
                    <a:gd name="connsiteX10" fmla="*/ 9142326 w 9143161"/>
                    <a:gd name="connsiteY10" fmla="*/ 0 h 3493476"/>
                    <a:gd name="connsiteX11" fmla="*/ 6640285 w 9143161"/>
                    <a:gd name="connsiteY11" fmla="*/ 31819 h 3493476"/>
                    <a:gd name="connsiteX12" fmla="*/ 5050970 w 9143161"/>
                    <a:gd name="connsiteY12" fmla="*/ 97133 h 3493476"/>
                    <a:gd name="connsiteX13" fmla="*/ 4996542 w 9143161"/>
                    <a:gd name="connsiteY13" fmla="*/ 369277 h 3493476"/>
                    <a:gd name="connsiteX14" fmla="*/ 6561571 w 9143161"/>
                    <a:gd name="connsiteY14" fmla="*/ 792146 h 3493476"/>
                    <a:gd name="connsiteX15" fmla="*/ 6063342 w 9143161"/>
                    <a:gd name="connsiteY15" fmla="*/ 859135 h 3493476"/>
                    <a:gd name="connsiteX16" fmla="*/ 4604657 w 9143161"/>
                    <a:gd name="connsiteY16" fmla="*/ 978876 h 3493476"/>
                    <a:gd name="connsiteX17" fmla="*/ 3385456 w 9143161"/>
                    <a:gd name="connsiteY17" fmla="*/ 1403420 h 3493476"/>
                    <a:gd name="connsiteX18" fmla="*/ 5333998 w 9143161"/>
                    <a:gd name="connsiteY18" fmla="*/ 2067449 h 3493476"/>
                    <a:gd name="connsiteX19" fmla="*/ 5758542 w 9143161"/>
                    <a:gd name="connsiteY19" fmla="*/ 2274277 h 3493476"/>
                    <a:gd name="connsiteX20" fmla="*/ 4125685 w 9143161"/>
                    <a:gd name="connsiteY20" fmla="*/ 2481105 h 3493476"/>
                    <a:gd name="connsiteX21" fmla="*/ 1894113 w 9143161"/>
                    <a:gd name="connsiteY21" fmla="*/ 2546420 h 3493476"/>
                    <a:gd name="connsiteX22" fmla="*/ 0 w 9143161"/>
                    <a:gd name="connsiteY22" fmla="*/ 2568191 h 3493476"/>
                    <a:gd name="connsiteX23" fmla="*/ 0 w 9143161"/>
                    <a:gd name="connsiteY23" fmla="*/ 3480638 h 349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3161" h="3493476">
                      <a:moveTo>
                        <a:pt x="0" y="3480638"/>
                      </a:moveTo>
                      <a:cubicBezTo>
                        <a:pt x="239485" y="3477009"/>
                        <a:pt x="56242" y="3482591"/>
                        <a:pt x="718456" y="3482591"/>
                      </a:cubicBezTo>
                      <a:lnTo>
                        <a:pt x="3973285" y="3493476"/>
                      </a:lnTo>
                      <a:cubicBezTo>
                        <a:pt x="5007428" y="3442676"/>
                        <a:pt x="5724071" y="3440863"/>
                        <a:pt x="6923314" y="3177792"/>
                      </a:cubicBezTo>
                      <a:cubicBezTo>
                        <a:pt x="8122557" y="2914721"/>
                        <a:pt x="8274957" y="2526462"/>
                        <a:pt x="7968342" y="2241619"/>
                      </a:cubicBezTo>
                      <a:cubicBezTo>
                        <a:pt x="7661728" y="1956776"/>
                        <a:pt x="5333998" y="1512278"/>
                        <a:pt x="5083627" y="1468735"/>
                      </a:cubicBezTo>
                      <a:cubicBezTo>
                        <a:pt x="4833256" y="1425192"/>
                        <a:pt x="5161642" y="1405234"/>
                        <a:pt x="5682342" y="1327220"/>
                      </a:cubicBezTo>
                      <a:cubicBezTo>
                        <a:pt x="6203042" y="1249206"/>
                        <a:pt x="7991927" y="1154863"/>
                        <a:pt x="8207827" y="1000649"/>
                      </a:cubicBezTo>
                      <a:cubicBezTo>
                        <a:pt x="8423727" y="846435"/>
                        <a:pt x="6821852" y="506045"/>
                        <a:pt x="6977741" y="401933"/>
                      </a:cubicBezTo>
                      <a:cubicBezTo>
                        <a:pt x="7133630" y="297821"/>
                        <a:pt x="8370554" y="384628"/>
                        <a:pt x="9143161" y="375975"/>
                      </a:cubicBezTo>
                      <a:cubicBezTo>
                        <a:pt x="9139532" y="154633"/>
                        <a:pt x="9141767" y="236276"/>
                        <a:pt x="9142326" y="0"/>
                      </a:cubicBezTo>
                      <a:lnTo>
                        <a:pt x="6640285" y="31819"/>
                      </a:lnTo>
                      <a:cubicBezTo>
                        <a:pt x="5958393" y="48008"/>
                        <a:pt x="5324927" y="40890"/>
                        <a:pt x="5050970" y="97133"/>
                      </a:cubicBezTo>
                      <a:cubicBezTo>
                        <a:pt x="4777013" y="153376"/>
                        <a:pt x="4744775" y="253441"/>
                        <a:pt x="4996542" y="369277"/>
                      </a:cubicBezTo>
                      <a:cubicBezTo>
                        <a:pt x="5248309" y="485113"/>
                        <a:pt x="6383771" y="710503"/>
                        <a:pt x="6561571" y="792146"/>
                      </a:cubicBezTo>
                      <a:cubicBezTo>
                        <a:pt x="6739371" y="873789"/>
                        <a:pt x="6418523" y="837085"/>
                        <a:pt x="6063342" y="859135"/>
                      </a:cubicBezTo>
                      <a:cubicBezTo>
                        <a:pt x="5708161" y="881185"/>
                        <a:pt x="5050971" y="888162"/>
                        <a:pt x="4604657" y="978876"/>
                      </a:cubicBezTo>
                      <a:cubicBezTo>
                        <a:pt x="4158343" y="1069590"/>
                        <a:pt x="3263899" y="1221991"/>
                        <a:pt x="3385456" y="1403420"/>
                      </a:cubicBezTo>
                      <a:cubicBezTo>
                        <a:pt x="3507013" y="1584849"/>
                        <a:pt x="4938484" y="1922306"/>
                        <a:pt x="5333998" y="2067449"/>
                      </a:cubicBezTo>
                      <a:cubicBezTo>
                        <a:pt x="5729512" y="2212592"/>
                        <a:pt x="5959927" y="2205334"/>
                        <a:pt x="5758542" y="2274277"/>
                      </a:cubicBezTo>
                      <a:cubicBezTo>
                        <a:pt x="5557157" y="2343220"/>
                        <a:pt x="4769757" y="2435748"/>
                        <a:pt x="4125685" y="2481105"/>
                      </a:cubicBezTo>
                      <a:cubicBezTo>
                        <a:pt x="3572328" y="2508319"/>
                        <a:pt x="2581727" y="2531906"/>
                        <a:pt x="1894113" y="2546420"/>
                      </a:cubicBezTo>
                      <a:lnTo>
                        <a:pt x="0" y="2568191"/>
                      </a:lnTo>
                      <a:lnTo>
                        <a:pt x="0" y="3480638"/>
                      </a:lnTo>
                      <a:close/>
                    </a:path>
                  </a:pathLst>
                </a:cu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35" name="Freeform 34"/>
                <p:cNvSpPr/>
                <p:nvPr/>
              </p:nvSpPr>
              <p:spPr>
                <a:xfrm>
                  <a:off x="10886" y="1143003"/>
                  <a:ext cx="9144000" cy="2873829"/>
                </a:xfrm>
                <a:custGeom>
                  <a:avLst/>
                  <a:gdLst>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4049485 w 9144000"/>
                    <a:gd name="connsiteY5" fmla="*/ 1295400 h 2873829"/>
                    <a:gd name="connsiteX6" fmla="*/ 7336971 w 9144000"/>
                    <a:gd name="connsiteY6" fmla="*/ 783772 h 2873829"/>
                    <a:gd name="connsiteX7" fmla="*/ 5453743 w 9144000"/>
                    <a:gd name="connsiteY7" fmla="*/ 152400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336971 w 9144000"/>
                    <a:gd name="connsiteY6" fmla="*/ 783772 h 2873829"/>
                    <a:gd name="connsiteX7" fmla="*/ 5453743 w 9144000"/>
                    <a:gd name="connsiteY7" fmla="*/ 152400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43799 w 9144000"/>
                    <a:gd name="connsiteY6" fmla="*/ 696686 h 2873829"/>
                    <a:gd name="connsiteX7" fmla="*/ 5453743 w 9144000"/>
                    <a:gd name="connsiteY7" fmla="*/ 152400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43799 w 9144000"/>
                    <a:gd name="connsiteY6" fmla="*/ 696686 h 2873829"/>
                    <a:gd name="connsiteX7" fmla="*/ 5453743 w 9144000"/>
                    <a:gd name="connsiteY7" fmla="*/ 152400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43799 w 9144000"/>
                    <a:gd name="connsiteY6" fmla="*/ 740229 h 2873829"/>
                    <a:gd name="connsiteX7" fmla="*/ 5453743 w 9144000"/>
                    <a:gd name="connsiteY7" fmla="*/ 152400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453743 w 9144000"/>
                    <a:gd name="connsiteY7" fmla="*/ 152400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453743 w 9144000"/>
                    <a:gd name="connsiteY7" fmla="*/ 152400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812971 w 9144000"/>
                    <a:gd name="connsiteY7" fmla="*/ 185057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812971 w 9144000"/>
                    <a:gd name="connsiteY7" fmla="*/ 185057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812971 w 9144000"/>
                    <a:gd name="connsiteY7" fmla="*/ 185057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812971 w 9144000"/>
                    <a:gd name="connsiteY7" fmla="*/ 185057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780314 w 9144000"/>
                    <a:gd name="connsiteY7" fmla="*/ 97972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780314 w 9144000"/>
                    <a:gd name="connsiteY7" fmla="*/ 97972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5965371 w 9144000"/>
                    <a:gd name="connsiteY4" fmla="*/ 1774372 h 2873829"/>
                    <a:gd name="connsiteX5" fmla="*/ 3995057 w 9144000"/>
                    <a:gd name="connsiteY5" fmla="*/ 1230086 h 2873829"/>
                    <a:gd name="connsiteX6" fmla="*/ 7565570 w 9144000"/>
                    <a:gd name="connsiteY6" fmla="*/ 772886 h 2873829"/>
                    <a:gd name="connsiteX7" fmla="*/ 5780314 w 9144000"/>
                    <a:gd name="connsiteY7" fmla="*/ 97972 h 2873829"/>
                    <a:gd name="connsiteX8" fmla="*/ 9144000 w 9144000"/>
                    <a:gd name="connsiteY8"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6966857 w 9144000"/>
                    <a:gd name="connsiteY3" fmla="*/ 2209800 h 2873829"/>
                    <a:gd name="connsiteX4" fmla="*/ 3995057 w 9144000"/>
                    <a:gd name="connsiteY4" fmla="*/ 1230086 h 2873829"/>
                    <a:gd name="connsiteX5" fmla="*/ 7565570 w 9144000"/>
                    <a:gd name="connsiteY5" fmla="*/ 772886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3995057 w 9144000"/>
                    <a:gd name="connsiteY4" fmla="*/ 1230086 h 2873829"/>
                    <a:gd name="connsiteX5" fmla="*/ 7565570 w 9144000"/>
                    <a:gd name="connsiteY5" fmla="*/ 772886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565570 w 9144000"/>
                    <a:gd name="connsiteY5" fmla="*/ 772886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565570 w 9144000"/>
                    <a:gd name="connsiteY5" fmla="*/ 772886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424055 w 9144000"/>
                    <a:gd name="connsiteY5" fmla="*/ 729344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424055 w 9144000"/>
                    <a:gd name="connsiteY5" fmla="*/ 729344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424055 w 9144000"/>
                    <a:gd name="connsiteY5" fmla="*/ 729344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424055 w 9144000"/>
                    <a:gd name="connsiteY5" fmla="*/ 729344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565569 w 9144000"/>
                    <a:gd name="connsiteY5" fmla="*/ 729344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565569 w 9144000"/>
                    <a:gd name="connsiteY5" fmla="*/ 729344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565569 w 9144000"/>
                    <a:gd name="connsiteY5" fmla="*/ 729344 h 2873829"/>
                    <a:gd name="connsiteX6" fmla="*/ 5780314 w 9144000"/>
                    <a:gd name="connsiteY6" fmla="*/ 97972 h 2873829"/>
                    <a:gd name="connsiteX7" fmla="*/ 9144000 w 9144000"/>
                    <a:gd name="connsiteY7" fmla="*/ 0 h 2873829"/>
                    <a:gd name="connsiteX0" fmla="*/ 0 w 9144000"/>
                    <a:gd name="connsiteY0" fmla="*/ 2873829 h 2873829"/>
                    <a:gd name="connsiteX1" fmla="*/ 3494314 w 9144000"/>
                    <a:gd name="connsiteY1" fmla="*/ 2830286 h 2873829"/>
                    <a:gd name="connsiteX2" fmla="*/ 6259285 w 9144000"/>
                    <a:gd name="connsiteY2" fmla="*/ 2569029 h 2873829"/>
                    <a:gd name="connsiteX3" fmla="*/ 7108371 w 9144000"/>
                    <a:gd name="connsiteY3" fmla="*/ 2198914 h 2873829"/>
                    <a:gd name="connsiteX4" fmla="*/ 4180114 w 9144000"/>
                    <a:gd name="connsiteY4" fmla="*/ 1230086 h 2873829"/>
                    <a:gd name="connsiteX5" fmla="*/ 7369627 w 9144000"/>
                    <a:gd name="connsiteY5" fmla="*/ 762001 h 2873829"/>
                    <a:gd name="connsiteX6" fmla="*/ 5780314 w 9144000"/>
                    <a:gd name="connsiteY6" fmla="*/ 97972 h 2873829"/>
                    <a:gd name="connsiteX7" fmla="*/ 9144000 w 9144000"/>
                    <a:gd name="connsiteY7" fmla="*/ 0 h 287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2873829">
                      <a:moveTo>
                        <a:pt x="0" y="2873829"/>
                      </a:moveTo>
                      <a:lnTo>
                        <a:pt x="3494314" y="2830286"/>
                      </a:lnTo>
                      <a:cubicBezTo>
                        <a:pt x="4537528" y="2779486"/>
                        <a:pt x="5656942" y="2674258"/>
                        <a:pt x="6259285" y="2569029"/>
                      </a:cubicBezTo>
                      <a:cubicBezTo>
                        <a:pt x="6861628" y="2463800"/>
                        <a:pt x="7454900" y="2422071"/>
                        <a:pt x="7108371" y="2198914"/>
                      </a:cubicBezTo>
                      <a:cubicBezTo>
                        <a:pt x="6761843" y="1975757"/>
                        <a:pt x="4136571" y="1469572"/>
                        <a:pt x="4180114" y="1230086"/>
                      </a:cubicBezTo>
                      <a:cubicBezTo>
                        <a:pt x="4223657" y="990600"/>
                        <a:pt x="7102927" y="950687"/>
                        <a:pt x="7369627" y="762001"/>
                      </a:cubicBezTo>
                      <a:cubicBezTo>
                        <a:pt x="7364184" y="486229"/>
                        <a:pt x="5484585" y="224972"/>
                        <a:pt x="5780314" y="97972"/>
                      </a:cubicBezTo>
                      <a:cubicBezTo>
                        <a:pt x="6076043" y="-29028"/>
                        <a:pt x="7449457" y="10885"/>
                        <a:pt x="9144000" y="0"/>
                      </a:cubicBezTo>
                    </a:path>
                  </a:pathLst>
                </a:custGeom>
                <a:noFill/>
                <a:ln w="12700">
                  <a:solidFill>
                    <a:srgbClr val="FFDD3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grpSp>
          <p:grpSp>
            <p:nvGrpSpPr>
              <p:cNvPr id="18" name="Group 17"/>
              <p:cNvGrpSpPr/>
              <p:nvPr/>
            </p:nvGrpSpPr>
            <p:grpSpPr>
              <a:xfrm>
                <a:off x="541238" y="2824679"/>
                <a:ext cx="743276" cy="1232094"/>
                <a:chOff x="584781" y="1133821"/>
                <a:chExt cx="1341990" cy="2224557"/>
              </a:xfrm>
            </p:grpSpPr>
            <p:sp>
              <p:nvSpPr>
                <p:cNvPr id="31" name="Heart 414"/>
                <p:cNvSpPr/>
                <p:nvPr/>
              </p:nvSpPr>
              <p:spPr>
                <a:xfrm>
                  <a:off x="790809" y="2194357"/>
                  <a:ext cx="957942" cy="1164021"/>
                </a:xfrm>
                <a:custGeom>
                  <a:avLst/>
                  <a:gdLst>
                    <a:gd name="connsiteX0" fmla="*/ 627453 w 1254906"/>
                    <a:gd name="connsiteY0" fmla="*/ 354231 h 1416924"/>
                    <a:gd name="connsiteX1" fmla="*/ 627453 w 1254906"/>
                    <a:gd name="connsiteY1" fmla="*/ 1416924 h 1416924"/>
                    <a:gd name="connsiteX2" fmla="*/ 627453 w 1254906"/>
                    <a:gd name="connsiteY2" fmla="*/ 354231 h 1416924"/>
                    <a:gd name="connsiteX0" fmla="*/ 559090 w 1191117"/>
                    <a:gd name="connsiteY0" fmla="*/ 336678 h 1404169"/>
                    <a:gd name="connsiteX1" fmla="*/ 559090 w 1191117"/>
                    <a:gd name="connsiteY1" fmla="*/ 1399371 h 1404169"/>
                    <a:gd name="connsiteX2" fmla="*/ 0 w 1191117"/>
                    <a:gd name="connsiteY2" fmla="*/ 713571 h 1404169"/>
                    <a:gd name="connsiteX3" fmla="*/ 559090 w 1191117"/>
                    <a:gd name="connsiteY3" fmla="*/ 336678 h 1404169"/>
                    <a:gd name="connsiteX0" fmla="*/ 537318 w 1169345"/>
                    <a:gd name="connsiteY0" fmla="*/ 336678 h 1403333"/>
                    <a:gd name="connsiteX1" fmla="*/ 537318 w 1169345"/>
                    <a:gd name="connsiteY1" fmla="*/ 1399371 h 1403333"/>
                    <a:gd name="connsiteX2" fmla="*/ 0 w 1169345"/>
                    <a:gd name="connsiteY2" fmla="*/ 582943 h 1403333"/>
                    <a:gd name="connsiteX3" fmla="*/ 537318 w 1169345"/>
                    <a:gd name="connsiteY3" fmla="*/ 336678 h 1403333"/>
                    <a:gd name="connsiteX0" fmla="*/ 537318 w 1169345"/>
                    <a:gd name="connsiteY0" fmla="*/ 336678 h 1407373"/>
                    <a:gd name="connsiteX1" fmla="*/ 537318 w 1169345"/>
                    <a:gd name="connsiteY1" fmla="*/ 1399371 h 1407373"/>
                    <a:gd name="connsiteX2" fmla="*/ 0 w 1169345"/>
                    <a:gd name="connsiteY2" fmla="*/ 582943 h 1407373"/>
                    <a:gd name="connsiteX3" fmla="*/ 537318 w 1169345"/>
                    <a:gd name="connsiteY3" fmla="*/ 336678 h 1407373"/>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80861 w 1121228"/>
                    <a:gd name="connsiteY0" fmla="*/ 14657 h 1488123"/>
                    <a:gd name="connsiteX1" fmla="*/ 1121228 w 1121228"/>
                    <a:gd name="connsiteY1" fmla="*/ 696350 h 1488123"/>
                    <a:gd name="connsiteX2" fmla="*/ 537318 w 1121228"/>
                    <a:gd name="connsiteY2" fmla="*/ 1480121 h 1488123"/>
                    <a:gd name="connsiteX3" fmla="*/ 0 w 1121228"/>
                    <a:gd name="connsiteY3" fmla="*/ 663693 h 1488123"/>
                    <a:gd name="connsiteX4" fmla="*/ 580861 w 1121228"/>
                    <a:gd name="connsiteY4" fmla="*/ 14657 h 1488123"/>
                    <a:gd name="connsiteX0" fmla="*/ 580861 w 1125998"/>
                    <a:gd name="connsiteY0" fmla="*/ 14657 h 1488123"/>
                    <a:gd name="connsiteX1" fmla="*/ 1121228 w 1125998"/>
                    <a:gd name="connsiteY1" fmla="*/ 696350 h 1488123"/>
                    <a:gd name="connsiteX2" fmla="*/ 537318 w 1125998"/>
                    <a:gd name="connsiteY2" fmla="*/ 1480121 h 1488123"/>
                    <a:gd name="connsiteX3" fmla="*/ 0 w 1125998"/>
                    <a:gd name="connsiteY3" fmla="*/ 663693 h 1488123"/>
                    <a:gd name="connsiteX4" fmla="*/ 580861 w 1125998"/>
                    <a:gd name="connsiteY4" fmla="*/ 14657 h 1488123"/>
                    <a:gd name="connsiteX0" fmla="*/ 580989 w 1126126"/>
                    <a:gd name="connsiteY0" fmla="*/ 8162 h 1481628"/>
                    <a:gd name="connsiteX1" fmla="*/ 1121356 w 1126126"/>
                    <a:gd name="connsiteY1" fmla="*/ 689855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77048"/>
                    <a:gd name="connsiteX1" fmla="*/ 1121356 w 1126126"/>
                    <a:gd name="connsiteY1" fmla="*/ 635426 h 1477048"/>
                    <a:gd name="connsiteX2" fmla="*/ 537446 w 1126126"/>
                    <a:gd name="connsiteY2" fmla="*/ 1473626 h 1477048"/>
                    <a:gd name="connsiteX3" fmla="*/ 128 w 1126126"/>
                    <a:gd name="connsiteY3" fmla="*/ 657198 h 1477048"/>
                    <a:gd name="connsiteX4" fmla="*/ 580989 w 1126126"/>
                    <a:gd name="connsiteY4" fmla="*/ 8162 h 1477048"/>
                    <a:gd name="connsiteX0" fmla="*/ 0 w 1121228"/>
                    <a:gd name="connsiteY0" fmla="*/ 114841 h 934691"/>
                    <a:gd name="connsiteX1" fmla="*/ 1121228 w 1121228"/>
                    <a:gd name="connsiteY1" fmla="*/ 93069 h 934691"/>
                    <a:gd name="connsiteX2" fmla="*/ 537318 w 1121228"/>
                    <a:gd name="connsiteY2" fmla="*/ 931269 h 934691"/>
                    <a:gd name="connsiteX3" fmla="*/ 0 w 1121228"/>
                    <a:gd name="connsiteY3" fmla="*/ 114841 h 934691"/>
                    <a:gd name="connsiteX0" fmla="*/ 0 w 1045028"/>
                    <a:gd name="connsiteY0" fmla="*/ 110141 h 929991"/>
                    <a:gd name="connsiteX1" fmla="*/ 1045028 w 1045028"/>
                    <a:gd name="connsiteY1" fmla="*/ 97035 h 929991"/>
                    <a:gd name="connsiteX2" fmla="*/ 537318 w 1045028"/>
                    <a:gd name="connsiteY2" fmla="*/ 926569 h 929991"/>
                    <a:gd name="connsiteX3" fmla="*/ 0 w 1045028"/>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6595"/>
                    <a:gd name="connsiteX1" fmla="*/ 957942 w 957942"/>
                    <a:gd name="connsiteY1" fmla="*/ 97035 h 926595"/>
                    <a:gd name="connsiteX2" fmla="*/ 450232 w 957942"/>
                    <a:gd name="connsiteY2" fmla="*/ 926569 h 926595"/>
                    <a:gd name="connsiteX3" fmla="*/ 0 w 957942"/>
                    <a:gd name="connsiteY3" fmla="*/ 110141 h 926595"/>
                    <a:gd name="connsiteX0" fmla="*/ 0 w 957942"/>
                    <a:gd name="connsiteY0" fmla="*/ 110141 h 926569"/>
                    <a:gd name="connsiteX1" fmla="*/ 957942 w 957942"/>
                    <a:gd name="connsiteY1" fmla="*/ 97035 h 926569"/>
                    <a:gd name="connsiteX2" fmla="*/ 450232 w 957942"/>
                    <a:gd name="connsiteY2" fmla="*/ 926569 h 926569"/>
                    <a:gd name="connsiteX3" fmla="*/ 0 w 957942"/>
                    <a:gd name="connsiteY3" fmla="*/ 110141 h 926569"/>
                  </a:gdLst>
                  <a:ahLst/>
                  <a:cxnLst>
                    <a:cxn ang="0">
                      <a:pos x="connsiteX0" y="connsiteY0"/>
                    </a:cxn>
                    <a:cxn ang="0">
                      <a:pos x="connsiteX1" y="connsiteY1"/>
                    </a:cxn>
                    <a:cxn ang="0">
                      <a:pos x="connsiteX2" y="connsiteY2"/>
                    </a:cxn>
                    <a:cxn ang="0">
                      <a:pos x="connsiteX3" y="connsiteY3"/>
                    </a:cxn>
                  </a:cxnLst>
                  <a:rect l="l" t="t" r="r" b="b"/>
                  <a:pathLst>
                    <a:path w="957942" h="926569">
                      <a:moveTo>
                        <a:pt x="0" y="110141"/>
                      </a:moveTo>
                      <a:cubicBezTo>
                        <a:pt x="97318" y="-29559"/>
                        <a:pt x="868389" y="-39036"/>
                        <a:pt x="957942" y="97035"/>
                      </a:cubicBezTo>
                      <a:cubicBezTo>
                        <a:pt x="620485" y="110865"/>
                        <a:pt x="582674" y="836696"/>
                        <a:pt x="450232" y="926569"/>
                      </a:cubicBezTo>
                      <a:cubicBezTo>
                        <a:pt x="324393" y="842078"/>
                        <a:pt x="293914" y="167514"/>
                        <a:pt x="0" y="110141"/>
                      </a:cubicBezTo>
                      <a:close/>
                    </a:path>
                  </a:pathLst>
                </a:custGeom>
                <a:solidFill>
                  <a:srgbClr val="FFDD3E"/>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32" name="Oval 31"/>
                <p:cNvSpPr/>
                <p:nvPr/>
              </p:nvSpPr>
              <p:spPr bwMode="auto">
                <a:xfrm>
                  <a:off x="584781" y="1133821"/>
                  <a:ext cx="1341990" cy="1538517"/>
                </a:xfrm>
                <a:prstGeom prst="ellipse">
                  <a:avLst/>
                </a:prstGeom>
                <a:solidFill>
                  <a:srgbClr val="FFDD3E"/>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fontAlgn="base">
                    <a:spcBef>
                      <a:spcPct val="0"/>
                    </a:spcBef>
                    <a:spcAft>
                      <a:spcPct val="0"/>
                    </a:spcAft>
                  </a:pPr>
                  <a:endParaRPr lang="en-US" sz="1600" b="1" dirty="0">
                    <a:latin typeface="Arial" charset="0"/>
                  </a:endParaRPr>
                </a:p>
              </p:txBody>
            </p:sp>
            <p:sp>
              <p:nvSpPr>
                <p:cNvPr id="33" name="Oval 32"/>
                <p:cNvSpPr/>
                <p:nvPr/>
              </p:nvSpPr>
              <p:spPr bwMode="auto">
                <a:xfrm>
                  <a:off x="725703" y="1485169"/>
                  <a:ext cx="1060152" cy="1051202"/>
                </a:xfrm>
                <a:prstGeom prst="ellipse">
                  <a:avLst/>
                </a:prstGeom>
                <a:solidFill>
                  <a:schemeClr val="bg1"/>
                </a:solidFill>
                <a:ln w="12700" cap="flat" cmpd="sng" algn="ctr">
                  <a:noFill/>
                  <a:prstDash val="solid"/>
                  <a:round/>
                  <a:headEnd type="none" w="med" len="med"/>
                  <a:tailEnd type="none" w="med" len="med"/>
                </a:ln>
                <a:effectLst>
                  <a:innerShdw blurRad="63500" dist="50800">
                    <a:prstClr val="black">
                      <a:alpha val="50000"/>
                    </a:prstClr>
                  </a:inn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3733" dirty="0">
                      <a:solidFill>
                        <a:schemeClr val="bg1"/>
                      </a:solidFill>
                    </a:rPr>
                    <a:t>1</a:t>
                  </a:r>
                </a:p>
              </p:txBody>
            </p:sp>
          </p:grpSp>
          <p:grpSp>
            <p:nvGrpSpPr>
              <p:cNvPr id="19" name="Group 18"/>
              <p:cNvGrpSpPr/>
              <p:nvPr/>
            </p:nvGrpSpPr>
            <p:grpSpPr>
              <a:xfrm>
                <a:off x="3860857" y="1381446"/>
                <a:ext cx="743276" cy="1229661"/>
                <a:chOff x="584781" y="1138213"/>
                <a:chExt cx="1341990" cy="2220165"/>
              </a:xfrm>
            </p:grpSpPr>
            <p:sp>
              <p:nvSpPr>
                <p:cNvPr id="28" name="Heart 414"/>
                <p:cNvSpPr/>
                <p:nvPr/>
              </p:nvSpPr>
              <p:spPr>
                <a:xfrm>
                  <a:off x="790809" y="2194357"/>
                  <a:ext cx="957942" cy="1164021"/>
                </a:xfrm>
                <a:custGeom>
                  <a:avLst/>
                  <a:gdLst>
                    <a:gd name="connsiteX0" fmla="*/ 627453 w 1254906"/>
                    <a:gd name="connsiteY0" fmla="*/ 354231 h 1416924"/>
                    <a:gd name="connsiteX1" fmla="*/ 627453 w 1254906"/>
                    <a:gd name="connsiteY1" fmla="*/ 1416924 h 1416924"/>
                    <a:gd name="connsiteX2" fmla="*/ 627453 w 1254906"/>
                    <a:gd name="connsiteY2" fmla="*/ 354231 h 1416924"/>
                    <a:gd name="connsiteX0" fmla="*/ 559090 w 1191117"/>
                    <a:gd name="connsiteY0" fmla="*/ 336678 h 1404169"/>
                    <a:gd name="connsiteX1" fmla="*/ 559090 w 1191117"/>
                    <a:gd name="connsiteY1" fmla="*/ 1399371 h 1404169"/>
                    <a:gd name="connsiteX2" fmla="*/ 0 w 1191117"/>
                    <a:gd name="connsiteY2" fmla="*/ 713571 h 1404169"/>
                    <a:gd name="connsiteX3" fmla="*/ 559090 w 1191117"/>
                    <a:gd name="connsiteY3" fmla="*/ 336678 h 1404169"/>
                    <a:gd name="connsiteX0" fmla="*/ 537318 w 1169345"/>
                    <a:gd name="connsiteY0" fmla="*/ 336678 h 1403333"/>
                    <a:gd name="connsiteX1" fmla="*/ 537318 w 1169345"/>
                    <a:gd name="connsiteY1" fmla="*/ 1399371 h 1403333"/>
                    <a:gd name="connsiteX2" fmla="*/ 0 w 1169345"/>
                    <a:gd name="connsiteY2" fmla="*/ 582943 h 1403333"/>
                    <a:gd name="connsiteX3" fmla="*/ 537318 w 1169345"/>
                    <a:gd name="connsiteY3" fmla="*/ 336678 h 1403333"/>
                    <a:gd name="connsiteX0" fmla="*/ 537318 w 1169345"/>
                    <a:gd name="connsiteY0" fmla="*/ 336678 h 1407373"/>
                    <a:gd name="connsiteX1" fmla="*/ 537318 w 1169345"/>
                    <a:gd name="connsiteY1" fmla="*/ 1399371 h 1407373"/>
                    <a:gd name="connsiteX2" fmla="*/ 0 w 1169345"/>
                    <a:gd name="connsiteY2" fmla="*/ 582943 h 1407373"/>
                    <a:gd name="connsiteX3" fmla="*/ 537318 w 1169345"/>
                    <a:gd name="connsiteY3" fmla="*/ 336678 h 1407373"/>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80861 w 1121228"/>
                    <a:gd name="connsiteY0" fmla="*/ 14657 h 1488123"/>
                    <a:gd name="connsiteX1" fmla="*/ 1121228 w 1121228"/>
                    <a:gd name="connsiteY1" fmla="*/ 696350 h 1488123"/>
                    <a:gd name="connsiteX2" fmla="*/ 537318 w 1121228"/>
                    <a:gd name="connsiteY2" fmla="*/ 1480121 h 1488123"/>
                    <a:gd name="connsiteX3" fmla="*/ 0 w 1121228"/>
                    <a:gd name="connsiteY3" fmla="*/ 663693 h 1488123"/>
                    <a:gd name="connsiteX4" fmla="*/ 580861 w 1121228"/>
                    <a:gd name="connsiteY4" fmla="*/ 14657 h 1488123"/>
                    <a:gd name="connsiteX0" fmla="*/ 580861 w 1125998"/>
                    <a:gd name="connsiteY0" fmla="*/ 14657 h 1488123"/>
                    <a:gd name="connsiteX1" fmla="*/ 1121228 w 1125998"/>
                    <a:gd name="connsiteY1" fmla="*/ 696350 h 1488123"/>
                    <a:gd name="connsiteX2" fmla="*/ 537318 w 1125998"/>
                    <a:gd name="connsiteY2" fmla="*/ 1480121 h 1488123"/>
                    <a:gd name="connsiteX3" fmla="*/ 0 w 1125998"/>
                    <a:gd name="connsiteY3" fmla="*/ 663693 h 1488123"/>
                    <a:gd name="connsiteX4" fmla="*/ 580861 w 1125998"/>
                    <a:gd name="connsiteY4" fmla="*/ 14657 h 1488123"/>
                    <a:gd name="connsiteX0" fmla="*/ 580989 w 1126126"/>
                    <a:gd name="connsiteY0" fmla="*/ 8162 h 1481628"/>
                    <a:gd name="connsiteX1" fmla="*/ 1121356 w 1126126"/>
                    <a:gd name="connsiteY1" fmla="*/ 689855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77048"/>
                    <a:gd name="connsiteX1" fmla="*/ 1121356 w 1126126"/>
                    <a:gd name="connsiteY1" fmla="*/ 635426 h 1477048"/>
                    <a:gd name="connsiteX2" fmla="*/ 537446 w 1126126"/>
                    <a:gd name="connsiteY2" fmla="*/ 1473626 h 1477048"/>
                    <a:gd name="connsiteX3" fmla="*/ 128 w 1126126"/>
                    <a:gd name="connsiteY3" fmla="*/ 657198 h 1477048"/>
                    <a:gd name="connsiteX4" fmla="*/ 580989 w 1126126"/>
                    <a:gd name="connsiteY4" fmla="*/ 8162 h 1477048"/>
                    <a:gd name="connsiteX0" fmla="*/ 0 w 1121228"/>
                    <a:gd name="connsiteY0" fmla="*/ 114841 h 934691"/>
                    <a:gd name="connsiteX1" fmla="*/ 1121228 w 1121228"/>
                    <a:gd name="connsiteY1" fmla="*/ 93069 h 934691"/>
                    <a:gd name="connsiteX2" fmla="*/ 537318 w 1121228"/>
                    <a:gd name="connsiteY2" fmla="*/ 931269 h 934691"/>
                    <a:gd name="connsiteX3" fmla="*/ 0 w 1121228"/>
                    <a:gd name="connsiteY3" fmla="*/ 114841 h 934691"/>
                    <a:gd name="connsiteX0" fmla="*/ 0 w 1045028"/>
                    <a:gd name="connsiteY0" fmla="*/ 110141 h 929991"/>
                    <a:gd name="connsiteX1" fmla="*/ 1045028 w 1045028"/>
                    <a:gd name="connsiteY1" fmla="*/ 97035 h 929991"/>
                    <a:gd name="connsiteX2" fmla="*/ 537318 w 1045028"/>
                    <a:gd name="connsiteY2" fmla="*/ 926569 h 929991"/>
                    <a:gd name="connsiteX3" fmla="*/ 0 w 1045028"/>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6595"/>
                    <a:gd name="connsiteX1" fmla="*/ 957942 w 957942"/>
                    <a:gd name="connsiteY1" fmla="*/ 97035 h 926595"/>
                    <a:gd name="connsiteX2" fmla="*/ 450232 w 957942"/>
                    <a:gd name="connsiteY2" fmla="*/ 926569 h 926595"/>
                    <a:gd name="connsiteX3" fmla="*/ 0 w 957942"/>
                    <a:gd name="connsiteY3" fmla="*/ 110141 h 926595"/>
                    <a:gd name="connsiteX0" fmla="*/ 0 w 957942"/>
                    <a:gd name="connsiteY0" fmla="*/ 110141 h 926569"/>
                    <a:gd name="connsiteX1" fmla="*/ 957942 w 957942"/>
                    <a:gd name="connsiteY1" fmla="*/ 97035 h 926569"/>
                    <a:gd name="connsiteX2" fmla="*/ 450232 w 957942"/>
                    <a:gd name="connsiteY2" fmla="*/ 926569 h 926569"/>
                    <a:gd name="connsiteX3" fmla="*/ 0 w 957942"/>
                    <a:gd name="connsiteY3" fmla="*/ 110141 h 926569"/>
                  </a:gdLst>
                  <a:ahLst/>
                  <a:cxnLst>
                    <a:cxn ang="0">
                      <a:pos x="connsiteX0" y="connsiteY0"/>
                    </a:cxn>
                    <a:cxn ang="0">
                      <a:pos x="connsiteX1" y="connsiteY1"/>
                    </a:cxn>
                    <a:cxn ang="0">
                      <a:pos x="connsiteX2" y="connsiteY2"/>
                    </a:cxn>
                    <a:cxn ang="0">
                      <a:pos x="connsiteX3" y="connsiteY3"/>
                    </a:cxn>
                  </a:cxnLst>
                  <a:rect l="l" t="t" r="r" b="b"/>
                  <a:pathLst>
                    <a:path w="957942" h="926569">
                      <a:moveTo>
                        <a:pt x="0" y="110141"/>
                      </a:moveTo>
                      <a:cubicBezTo>
                        <a:pt x="97318" y="-29559"/>
                        <a:pt x="868389" y="-39036"/>
                        <a:pt x="957942" y="97035"/>
                      </a:cubicBezTo>
                      <a:cubicBezTo>
                        <a:pt x="620485" y="110865"/>
                        <a:pt x="582674" y="836696"/>
                        <a:pt x="450232" y="926569"/>
                      </a:cubicBezTo>
                      <a:cubicBezTo>
                        <a:pt x="324393" y="842078"/>
                        <a:pt x="293914" y="167514"/>
                        <a:pt x="0" y="110141"/>
                      </a:cubicBezTo>
                      <a:close/>
                    </a:path>
                  </a:pathLst>
                </a:custGeom>
                <a:solidFill>
                  <a:srgbClr val="FBB141"/>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29" name="Oval 28"/>
                <p:cNvSpPr/>
                <p:nvPr/>
              </p:nvSpPr>
              <p:spPr bwMode="auto">
                <a:xfrm>
                  <a:off x="584781" y="1138213"/>
                  <a:ext cx="1341990" cy="1540970"/>
                </a:xfrm>
                <a:prstGeom prst="ellipse">
                  <a:avLst/>
                </a:prstGeom>
                <a:solidFill>
                  <a:srgbClr val="FBB141"/>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fontAlgn="base">
                    <a:spcBef>
                      <a:spcPct val="0"/>
                    </a:spcBef>
                    <a:spcAft>
                      <a:spcPct val="0"/>
                    </a:spcAft>
                  </a:pPr>
                  <a:endParaRPr lang="en-US" sz="1600" b="1" dirty="0">
                    <a:latin typeface="Arial" charset="0"/>
                  </a:endParaRPr>
                </a:p>
              </p:txBody>
            </p:sp>
            <p:sp>
              <p:nvSpPr>
                <p:cNvPr id="30" name="Oval 29"/>
                <p:cNvSpPr/>
                <p:nvPr/>
              </p:nvSpPr>
              <p:spPr bwMode="auto">
                <a:xfrm>
                  <a:off x="725703" y="1485169"/>
                  <a:ext cx="1060152" cy="1051202"/>
                </a:xfrm>
                <a:prstGeom prst="ellipse">
                  <a:avLst/>
                </a:prstGeom>
                <a:solidFill>
                  <a:schemeClr val="bg1"/>
                </a:solidFill>
                <a:ln w="12700" cap="flat" cmpd="sng" algn="ctr">
                  <a:noFill/>
                  <a:prstDash val="solid"/>
                  <a:round/>
                  <a:headEnd type="none" w="med" len="med"/>
                  <a:tailEnd type="none" w="med" len="med"/>
                </a:ln>
                <a:effectLst>
                  <a:innerShdw blurRad="63500" dist="50800">
                    <a:prstClr val="black">
                      <a:alpha val="50000"/>
                    </a:prstClr>
                  </a:inn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3733" dirty="0">
                      <a:solidFill>
                        <a:schemeClr val="bg1"/>
                      </a:solidFill>
                    </a:rPr>
                    <a:t>1</a:t>
                  </a:r>
                </a:p>
              </p:txBody>
            </p:sp>
          </p:grpSp>
          <p:grpSp>
            <p:nvGrpSpPr>
              <p:cNvPr id="20" name="Group 19"/>
              <p:cNvGrpSpPr/>
              <p:nvPr/>
            </p:nvGrpSpPr>
            <p:grpSpPr>
              <a:xfrm>
                <a:off x="6863398" y="2338839"/>
                <a:ext cx="743276" cy="1230652"/>
                <a:chOff x="584781" y="1136424"/>
                <a:chExt cx="1341990" cy="2221954"/>
              </a:xfrm>
            </p:grpSpPr>
            <p:sp>
              <p:nvSpPr>
                <p:cNvPr id="25" name="Heart 414"/>
                <p:cNvSpPr/>
                <p:nvPr/>
              </p:nvSpPr>
              <p:spPr>
                <a:xfrm>
                  <a:off x="790809" y="2194357"/>
                  <a:ext cx="957942" cy="1164021"/>
                </a:xfrm>
                <a:custGeom>
                  <a:avLst/>
                  <a:gdLst>
                    <a:gd name="connsiteX0" fmla="*/ 627453 w 1254906"/>
                    <a:gd name="connsiteY0" fmla="*/ 354231 h 1416924"/>
                    <a:gd name="connsiteX1" fmla="*/ 627453 w 1254906"/>
                    <a:gd name="connsiteY1" fmla="*/ 1416924 h 1416924"/>
                    <a:gd name="connsiteX2" fmla="*/ 627453 w 1254906"/>
                    <a:gd name="connsiteY2" fmla="*/ 354231 h 1416924"/>
                    <a:gd name="connsiteX0" fmla="*/ 559090 w 1191117"/>
                    <a:gd name="connsiteY0" fmla="*/ 336678 h 1404169"/>
                    <a:gd name="connsiteX1" fmla="*/ 559090 w 1191117"/>
                    <a:gd name="connsiteY1" fmla="*/ 1399371 h 1404169"/>
                    <a:gd name="connsiteX2" fmla="*/ 0 w 1191117"/>
                    <a:gd name="connsiteY2" fmla="*/ 713571 h 1404169"/>
                    <a:gd name="connsiteX3" fmla="*/ 559090 w 1191117"/>
                    <a:gd name="connsiteY3" fmla="*/ 336678 h 1404169"/>
                    <a:gd name="connsiteX0" fmla="*/ 537318 w 1169345"/>
                    <a:gd name="connsiteY0" fmla="*/ 336678 h 1403333"/>
                    <a:gd name="connsiteX1" fmla="*/ 537318 w 1169345"/>
                    <a:gd name="connsiteY1" fmla="*/ 1399371 h 1403333"/>
                    <a:gd name="connsiteX2" fmla="*/ 0 w 1169345"/>
                    <a:gd name="connsiteY2" fmla="*/ 582943 h 1403333"/>
                    <a:gd name="connsiteX3" fmla="*/ 537318 w 1169345"/>
                    <a:gd name="connsiteY3" fmla="*/ 336678 h 1403333"/>
                    <a:gd name="connsiteX0" fmla="*/ 537318 w 1169345"/>
                    <a:gd name="connsiteY0" fmla="*/ 336678 h 1407373"/>
                    <a:gd name="connsiteX1" fmla="*/ 537318 w 1169345"/>
                    <a:gd name="connsiteY1" fmla="*/ 1399371 h 1407373"/>
                    <a:gd name="connsiteX2" fmla="*/ 0 w 1169345"/>
                    <a:gd name="connsiteY2" fmla="*/ 582943 h 1407373"/>
                    <a:gd name="connsiteX3" fmla="*/ 537318 w 1169345"/>
                    <a:gd name="connsiteY3" fmla="*/ 336678 h 1407373"/>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80861 w 1121228"/>
                    <a:gd name="connsiteY0" fmla="*/ 14657 h 1488123"/>
                    <a:gd name="connsiteX1" fmla="*/ 1121228 w 1121228"/>
                    <a:gd name="connsiteY1" fmla="*/ 696350 h 1488123"/>
                    <a:gd name="connsiteX2" fmla="*/ 537318 w 1121228"/>
                    <a:gd name="connsiteY2" fmla="*/ 1480121 h 1488123"/>
                    <a:gd name="connsiteX3" fmla="*/ 0 w 1121228"/>
                    <a:gd name="connsiteY3" fmla="*/ 663693 h 1488123"/>
                    <a:gd name="connsiteX4" fmla="*/ 580861 w 1121228"/>
                    <a:gd name="connsiteY4" fmla="*/ 14657 h 1488123"/>
                    <a:gd name="connsiteX0" fmla="*/ 580861 w 1125998"/>
                    <a:gd name="connsiteY0" fmla="*/ 14657 h 1488123"/>
                    <a:gd name="connsiteX1" fmla="*/ 1121228 w 1125998"/>
                    <a:gd name="connsiteY1" fmla="*/ 696350 h 1488123"/>
                    <a:gd name="connsiteX2" fmla="*/ 537318 w 1125998"/>
                    <a:gd name="connsiteY2" fmla="*/ 1480121 h 1488123"/>
                    <a:gd name="connsiteX3" fmla="*/ 0 w 1125998"/>
                    <a:gd name="connsiteY3" fmla="*/ 663693 h 1488123"/>
                    <a:gd name="connsiteX4" fmla="*/ 580861 w 1125998"/>
                    <a:gd name="connsiteY4" fmla="*/ 14657 h 1488123"/>
                    <a:gd name="connsiteX0" fmla="*/ 580989 w 1126126"/>
                    <a:gd name="connsiteY0" fmla="*/ 8162 h 1481628"/>
                    <a:gd name="connsiteX1" fmla="*/ 1121356 w 1126126"/>
                    <a:gd name="connsiteY1" fmla="*/ 689855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77048"/>
                    <a:gd name="connsiteX1" fmla="*/ 1121356 w 1126126"/>
                    <a:gd name="connsiteY1" fmla="*/ 635426 h 1477048"/>
                    <a:gd name="connsiteX2" fmla="*/ 537446 w 1126126"/>
                    <a:gd name="connsiteY2" fmla="*/ 1473626 h 1477048"/>
                    <a:gd name="connsiteX3" fmla="*/ 128 w 1126126"/>
                    <a:gd name="connsiteY3" fmla="*/ 657198 h 1477048"/>
                    <a:gd name="connsiteX4" fmla="*/ 580989 w 1126126"/>
                    <a:gd name="connsiteY4" fmla="*/ 8162 h 1477048"/>
                    <a:gd name="connsiteX0" fmla="*/ 0 w 1121228"/>
                    <a:gd name="connsiteY0" fmla="*/ 114841 h 934691"/>
                    <a:gd name="connsiteX1" fmla="*/ 1121228 w 1121228"/>
                    <a:gd name="connsiteY1" fmla="*/ 93069 h 934691"/>
                    <a:gd name="connsiteX2" fmla="*/ 537318 w 1121228"/>
                    <a:gd name="connsiteY2" fmla="*/ 931269 h 934691"/>
                    <a:gd name="connsiteX3" fmla="*/ 0 w 1121228"/>
                    <a:gd name="connsiteY3" fmla="*/ 114841 h 934691"/>
                    <a:gd name="connsiteX0" fmla="*/ 0 w 1045028"/>
                    <a:gd name="connsiteY0" fmla="*/ 110141 h 929991"/>
                    <a:gd name="connsiteX1" fmla="*/ 1045028 w 1045028"/>
                    <a:gd name="connsiteY1" fmla="*/ 97035 h 929991"/>
                    <a:gd name="connsiteX2" fmla="*/ 537318 w 1045028"/>
                    <a:gd name="connsiteY2" fmla="*/ 926569 h 929991"/>
                    <a:gd name="connsiteX3" fmla="*/ 0 w 1045028"/>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6595"/>
                    <a:gd name="connsiteX1" fmla="*/ 957942 w 957942"/>
                    <a:gd name="connsiteY1" fmla="*/ 97035 h 926595"/>
                    <a:gd name="connsiteX2" fmla="*/ 450232 w 957942"/>
                    <a:gd name="connsiteY2" fmla="*/ 926569 h 926595"/>
                    <a:gd name="connsiteX3" fmla="*/ 0 w 957942"/>
                    <a:gd name="connsiteY3" fmla="*/ 110141 h 926595"/>
                    <a:gd name="connsiteX0" fmla="*/ 0 w 957942"/>
                    <a:gd name="connsiteY0" fmla="*/ 110141 h 926569"/>
                    <a:gd name="connsiteX1" fmla="*/ 957942 w 957942"/>
                    <a:gd name="connsiteY1" fmla="*/ 97035 h 926569"/>
                    <a:gd name="connsiteX2" fmla="*/ 450232 w 957942"/>
                    <a:gd name="connsiteY2" fmla="*/ 926569 h 926569"/>
                    <a:gd name="connsiteX3" fmla="*/ 0 w 957942"/>
                    <a:gd name="connsiteY3" fmla="*/ 110141 h 926569"/>
                  </a:gdLst>
                  <a:ahLst/>
                  <a:cxnLst>
                    <a:cxn ang="0">
                      <a:pos x="connsiteX0" y="connsiteY0"/>
                    </a:cxn>
                    <a:cxn ang="0">
                      <a:pos x="connsiteX1" y="connsiteY1"/>
                    </a:cxn>
                    <a:cxn ang="0">
                      <a:pos x="connsiteX2" y="connsiteY2"/>
                    </a:cxn>
                    <a:cxn ang="0">
                      <a:pos x="connsiteX3" y="connsiteY3"/>
                    </a:cxn>
                  </a:cxnLst>
                  <a:rect l="l" t="t" r="r" b="b"/>
                  <a:pathLst>
                    <a:path w="957942" h="926569">
                      <a:moveTo>
                        <a:pt x="0" y="110141"/>
                      </a:moveTo>
                      <a:cubicBezTo>
                        <a:pt x="97318" y="-29559"/>
                        <a:pt x="868389" y="-39036"/>
                        <a:pt x="957942" y="97035"/>
                      </a:cubicBezTo>
                      <a:cubicBezTo>
                        <a:pt x="620485" y="110865"/>
                        <a:pt x="582674" y="836696"/>
                        <a:pt x="450232" y="926569"/>
                      </a:cubicBezTo>
                      <a:cubicBezTo>
                        <a:pt x="324393" y="842078"/>
                        <a:pt x="293914" y="167514"/>
                        <a:pt x="0" y="110141"/>
                      </a:cubicBezTo>
                      <a:close/>
                    </a:path>
                  </a:pathLst>
                </a:custGeom>
                <a:solidFill>
                  <a:srgbClr val="6DCFF6"/>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26" name="Oval 25"/>
                <p:cNvSpPr/>
                <p:nvPr/>
              </p:nvSpPr>
              <p:spPr bwMode="auto">
                <a:xfrm>
                  <a:off x="584781" y="1136424"/>
                  <a:ext cx="1341990" cy="1535918"/>
                </a:xfrm>
                <a:prstGeom prst="ellipse">
                  <a:avLst/>
                </a:prstGeom>
                <a:solidFill>
                  <a:srgbClr val="6DCFF6"/>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fontAlgn="base">
                    <a:spcBef>
                      <a:spcPct val="0"/>
                    </a:spcBef>
                    <a:spcAft>
                      <a:spcPct val="0"/>
                    </a:spcAft>
                  </a:pPr>
                  <a:endParaRPr lang="en-US" sz="1600" b="1" dirty="0">
                    <a:latin typeface="Arial" charset="0"/>
                  </a:endParaRPr>
                </a:p>
              </p:txBody>
            </p:sp>
            <p:sp>
              <p:nvSpPr>
                <p:cNvPr id="27" name="Oval 26"/>
                <p:cNvSpPr/>
                <p:nvPr/>
              </p:nvSpPr>
              <p:spPr bwMode="auto">
                <a:xfrm>
                  <a:off x="725703" y="1485169"/>
                  <a:ext cx="1060152" cy="1051202"/>
                </a:xfrm>
                <a:prstGeom prst="ellipse">
                  <a:avLst/>
                </a:prstGeom>
                <a:solidFill>
                  <a:schemeClr val="bg1"/>
                </a:solidFill>
                <a:ln w="12700" cap="flat" cmpd="sng" algn="ctr">
                  <a:noFill/>
                  <a:prstDash val="solid"/>
                  <a:round/>
                  <a:headEnd type="none" w="med" len="med"/>
                  <a:tailEnd type="none" w="med" len="med"/>
                </a:ln>
                <a:effectLst>
                  <a:innerShdw blurRad="63500" dist="50800">
                    <a:prstClr val="black">
                      <a:alpha val="50000"/>
                    </a:prstClr>
                  </a:inn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3733" dirty="0">
                      <a:solidFill>
                        <a:schemeClr val="bg1"/>
                      </a:solidFill>
                    </a:rPr>
                    <a:t>1</a:t>
                  </a:r>
                </a:p>
              </p:txBody>
            </p:sp>
          </p:grpSp>
          <p:grpSp>
            <p:nvGrpSpPr>
              <p:cNvPr id="21" name="Group 20"/>
              <p:cNvGrpSpPr/>
              <p:nvPr/>
            </p:nvGrpSpPr>
            <p:grpSpPr>
              <a:xfrm>
                <a:off x="6484277" y="220588"/>
                <a:ext cx="743276" cy="1221037"/>
                <a:chOff x="584781" y="398966"/>
                <a:chExt cx="1341990" cy="2204593"/>
              </a:xfrm>
            </p:grpSpPr>
            <p:sp>
              <p:nvSpPr>
                <p:cNvPr id="22" name="Heart 414"/>
                <p:cNvSpPr/>
                <p:nvPr/>
              </p:nvSpPr>
              <p:spPr>
                <a:xfrm>
                  <a:off x="790809" y="1439537"/>
                  <a:ext cx="957942" cy="1164022"/>
                </a:xfrm>
                <a:custGeom>
                  <a:avLst/>
                  <a:gdLst>
                    <a:gd name="connsiteX0" fmla="*/ 627453 w 1254906"/>
                    <a:gd name="connsiteY0" fmla="*/ 354231 h 1416924"/>
                    <a:gd name="connsiteX1" fmla="*/ 627453 w 1254906"/>
                    <a:gd name="connsiteY1" fmla="*/ 1416924 h 1416924"/>
                    <a:gd name="connsiteX2" fmla="*/ 627453 w 1254906"/>
                    <a:gd name="connsiteY2" fmla="*/ 354231 h 1416924"/>
                    <a:gd name="connsiteX0" fmla="*/ 559090 w 1191117"/>
                    <a:gd name="connsiteY0" fmla="*/ 336678 h 1404169"/>
                    <a:gd name="connsiteX1" fmla="*/ 559090 w 1191117"/>
                    <a:gd name="connsiteY1" fmla="*/ 1399371 h 1404169"/>
                    <a:gd name="connsiteX2" fmla="*/ 0 w 1191117"/>
                    <a:gd name="connsiteY2" fmla="*/ 713571 h 1404169"/>
                    <a:gd name="connsiteX3" fmla="*/ 559090 w 1191117"/>
                    <a:gd name="connsiteY3" fmla="*/ 336678 h 1404169"/>
                    <a:gd name="connsiteX0" fmla="*/ 537318 w 1169345"/>
                    <a:gd name="connsiteY0" fmla="*/ 336678 h 1403333"/>
                    <a:gd name="connsiteX1" fmla="*/ 537318 w 1169345"/>
                    <a:gd name="connsiteY1" fmla="*/ 1399371 h 1403333"/>
                    <a:gd name="connsiteX2" fmla="*/ 0 w 1169345"/>
                    <a:gd name="connsiteY2" fmla="*/ 582943 h 1403333"/>
                    <a:gd name="connsiteX3" fmla="*/ 537318 w 1169345"/>
                    <a:gd name="connsiteY3" fmla="*/ 336678 h 1403333"/>
                    <a:gd name="connsiteX0" fmla="*/ 537318 w 1169345"/>
                    <a:gd name="connsiteY0" fmla="*/ 336678 h 1407373"/>
                    <a:gd name="connsiteX1" fmla="*/ 537318 w 1169345"/>
                    <a:gd name="connsiteY1" fmla="*/ 1399371 h 1407373"/>
                    <a:gd name="connsiteX2" fmla="*/ 0 w 1169345"/>
                    <a:gd name="connsiteY2" fmla="*/ 582943 h 1407373"/>
                    <a:gd name="connsiteX3" fmla="*/ 537318 w 1169345"/>
                    <a:gd name="connsiteY3" fmla="*/ 336678 h 1407373"/>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37318 w 1121228"/>
                    <a:gd name="connsiteY0" fmla="*/ 35456 h 1106151"/>
                    <a:gd name="connsiteX1" fmla="*/ 1121228 w 1121228"/>
                    <a:gd name="connsiteY1" fmla="*/ 314378 h 1106151"/>
                    <a:gd name="connsiteX2" fmla="*/ 537318 w 1121228"/>
                    <a:gd name="connsiteY2" fmla="*/ 1098149 h 1106151"/>
                    <a:gd name="connsiteX3" fmla="*/ 0 w 1121228"/>
                    <a:gd name="connsiteY3" fmla="*/ 281721 h 1106151"/>
                    <a:gd name="connsiteX4" fmla="*/ 537318 w 1121228"/>
                    <a:gd name="connsiteY4" fmla="*/ 35456 h 1106151"/>
                    <a:gd name="connsiteX0" fmla="*/ 580861 w 1121228"/>
                    <a:gd name="connsiteY0" fmla="*/ 14657 h 1488123"/>
                    <a:gd name="connsiteX1" fmla="*/ 1121228 w 1121228"/>
                    <a:gd name="connsiteY1" fmla="*/ 696350 h 1488123"/>
                    <a:gd name="connsiteX2" fmla="*/ 537318 w 1121228"/>
                    <a:gd name="connsiteY2" fmla="*/ 1480121 h 1488123"/>
                    <a:gd name="connsiteX3" fmla="*/ 0 w 1121228"/>
                    <a:gd name="connsiteY3" fmla="*/ 663693 h 1488123"/>
                    <a:gd name="connsiteX4" fmla="*/ 580861 w 1121228"/>
                    <a:gd name="connsiteY4" fmla="*/ 14657 h 1488123"/>
                    <a:gd name="connsiteX0" fmla="*/ 580861 w 1125998"/>
                    <a:gd name="connsiteY0" fmla="*/ 14657 h 1488123"/>
                    <a:gd name="connsiteX1" fmla="*/ 1121228 w 1125998"/>
                    <a:gd name="connsiteY1" fmla="*/ 696350 h 1488123"/>
                    <a:gd name="connsiteX2" fmla="*/ 537318 w 1125998"/>
                    <a:gd name="connsiteY2" fmla="*/ 1480121 h 1488123"/>
                    <a:gd name="connsiteX3" fmla="*/ 0 w 1125998"/>
                    <a:gd name="connsiteY3" fmla="*/ 663693 h 1488123"/>
                    <a:gd name="connsiteX4" fmla="*/ 580861 w 1125998"/>
                    <a:gd name="connsiteY4" fmla="*/ 14657 h 1488123"/>
                    <a:gd name="connsiteX0" fmla="*/ 580989 w 1126126"/>
                    <a:gd name="connsiteY0" fmla="*/ 8162 h 1481628"/>
                    <a:gd name="connsiteX1" fmla="*/ 1121356 w 1126126"/>
                    <a:gd name="connsiteY1" fmla="*/ 689855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81628"/>
                    <a:gd name="connsiteX1" fmla="*/ 1121356 w 1126126"/>
                    <a:gd name="connsiteY1" fmla="*/ 635426 h 1481628"/>
                    <a:gd name="connsiteX2" fmla="*/ 537446 w 1126126"/>
                    <a:gd name="connsiteY2" fmla="*/ 1473626 h 1481628"/>
                    <a:gd name="connsiteX3" fmla="*/ 128 w 1126126"/>
                    <a:gd name="connsiteY3" fmla="*/ 657198 h 1481628"/>
                    <a:gd name="connsiteX4" fmla="*/ 580989 w 1126126"/>
                    <a:gd name="connsiteY4" fmla="*/ 8162 h 1481628"/>
                    <a:gd name="connsiteX0" fmla="*/ 580989 w 1126126"/>
                    <a:gd name="connsiteY0" fmla="*/ 8162 h 1477048"/>
                    <a:gd name="connsiteX1" fmla="*/ 1121356 w 1126126"/>
                    <a:gd name="connsiteY1" fmla="*/ 635426 h 1477048"/>
                    <a:gd name="connsiteX2" fmla="*/ 537446 w 1126126"/>
                    <a:gd name="connsiteY2" fmla="*/ 1473626 h 1477048"/>
                    <a:gd name="connsiteX3" fmla="*/ 128 w 1126126"/>
                    <a:gd name="connsiteY3" fmla="*/ 657198 h 1477048"/>
                    <a:gd name="connsiteX4" fmla="*/ 580989 w 1126126"/>
                    <a:gd name="connsiteY4" fmla="*/ 8162 h 1477048"/>
                    <a:gd name="connsiteX0" fmla="*/ 0 w 1121228"/>
                    <a:gd name="connsiteY0" fmla="*/ 114841 h 934691"/>
                    <a:gd name="connsiteX1" fmla="*/ 1121228 w 1121228"/>
                    <a:gd name="connsiteY1" fmla="*/ 93069 h 934691"/>
                    <a:gd name="connsiteX2" fmla="*/ 537318 w 1121228"/>
                    <a:gd name="connsiteY2" fmla="*/ 931269 h 934691"/>
                    <a:gd name="connsiteX3" fmla="*/ 0 w 1121228"/>
                    <a:gd name="connsiteY3" fmla="*/ 114841 h 934691"/>
                    <a:gd name="connsiteX0" fmla="*/ 0 w 1045028"/>
                    <a:gd name="connsiteY0" fmla="*/ 110141 h 929991"/>
                    <a:gd name="connsiteX1" fmla="*/ 1045028 w 1045028"/>
                    <a:gd name="connsiteY1" fmla="*/ 97035 h 929991"/>
                    <a:gd name="connsiteX2" fmla="*/ 537318 w 1045028"/>
                    <a:gd name="connsiteY2" fmla="*/ 926569 h 929991"/>
                    <a:gd name="connsiteX3" fmla="*/ 0 w 1045028"/>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9991"/>
                    <a:gd name="connsiteX1" fmla="*/ 957942 w 957942"/>
                    <a:gd name="connsiteY1" fmla="*/ 97035 h 929991"/>
                    <a:gd name="connsiteX2" fmla="*/ 450232 w 957942"/>
                    <a:gd name="connsiteY2" fmla="*/ 926569 h 929991"/>
                    <a:gd name="connsiteX3" fmla="*/ 0 w 957942"/>
                    <a:gd name="connsiteY3" fmla="*/ 110141 h 929991"/>
                    <a:gd name="connsiteX0" fmla="*/ 0 w 957942"/>
                    <a:gd name="connsiteY0" fmla="*/ 110141 h 926595"/>
                    <a:gd name="connsiteX1" fmla="*/ 957942 w 957942"/>
                    <a:gd name="connsiteY1" fmla="*/ 97035 h 926595"/>
                    <a:gd name="connsiteX2" fmla="*/ 450232 w 957942"/>
                    <a:gd name="connsiteY2" fmla="*/ 926569 h 926595"/>
                    <a:gd name="connsiteX3" fmla="*/ 0 w 957942"/>
                    <a:gd name="connsiteY3" fmla="*/ 110141 h 926595"/>
                    <a:gd name="connsiteX0" fmla="*/ 0 w 957942"/>
                    <a:gd name="connsiteY0" fmla="*/ 110141 h 926569"/>
                    <a:gd name="connsiteX1" fmla="*/ 957942 w 957942"/>
                    <a:gd name="connsiteY1" fmla="*/ 97035 h 926569"/>
                    <a:gd name="connsiteX2" fmla="*/ 450232 w 957942"/>
                    <a:gd name="connsiteY2" fmla="*/ 926569 h 926569"/>
                    <a:gd name="connsiteX3" fmla="*/ 0 w 957942"/>
                    <a:gd name="connsiteY3" fmla="*/ 110141 h 926569"/>
                  </a:gdLst>
                  <a:ahLst/>
                  <a:cxnLst>
                    <a:cxn ang="0">
                      <a:pos x="connsiteX0" y="connsiteY0"/>
                    </a:cxn>
                    <a:cxn ang="0">
                      <a:pos x="connsiteX1" y="connsiteY1"/>
                    </a:cxn>
                    <a:cxn ang="0">
                      <a:pos x="connsiteX2" y="connsiteY2"/>
                    </a:cxn>
                    <a:cxn ang="0">
                      <a:pos x="connsiteX3" y="connsiteY3"/>
                    </a:cxn>
                  </a:cxnLst>
                  <a:rect l="l" t="t" r="r" b="b"/>
                  <a:pathLst>
                    <a:path w="957942" h="926569">
                      <a:moveTo>
                        <a:pt x="0" y="110141"/>
                      </a:moveTo>
                      <a:cubicBezTo>
                        <a:pt x="97318" y="-29559"/>
                        <a:pt x="868389" y="-39036"/>
                        <a:pt x="957942" y="97035"/>
                      </a:cubicBezTo>
                      <a:cubicBezTo>
                        <a:pt x="620485" y="110865"/>
                        <a:pt x="582674" y="836696"/>
                        <a:pt x="450232" y="926569"/>
                      </a:cubicBezTo>
                      <a:cubicBezTo>
                        <a:pt x="324393" y="842078"/>
                        <a:pt x="293914" y="167514"/>
                        <a:pt x="0" y="110141"/>
                      </a:cubicBezTo>
                      <a:close/>
                    </a:path>
                  </a:pathLst>
                </a:custGeom>
                <a:solidFill>
                  <a:srgbClr val="D8D423"/>
                </a:solidFill>
                <a:ln w="285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23" name="Oval 22"/>
                <p:cNvSpPr/>
                <p:nvPr/>
              </p:nvSpPr>
              <p:spPr bwMode="auto">
                <a:xfrm>
                  <a:off x="584781" y="398966"/>
                  <a:ext cx="1341990" cy="1540970"/>
                </a:xfrm>
                <a:prstGeom prst="ellipse">
                  <a:avLst/>
                </a:prstGeom>
                <a:solidFill>
                  <a:srgbClr val="D8D423"/>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fontAlgn="base">
                    <a:spcBef>
                      <a:spcPct val="0"/>
                    </a:spcBef>
                    <a:spcAft>
                      <a:spcPct val="0"/>
                    </a:spcAft>
                  </a:pPr>
                  <a:endParaRPr lang="en-US" sz="1600" b="1" dirty="0">
                    <a:latin typeface="Arial" charset="0"/>
                  </a:endParaRPr>
                </a:p>
              </p:txBody>
            </p:sp>
            <p:sp>
              <p:nvSpPr>
                <p:cNvPr id="24" name="Oval 23"/>
                <p:cNvSpPr/>
                <p:nvPr/>
              </p:nvSpPr>
              <p:spPr bwMode="auto">
                <a:xfrm>
                  <a:off x="725703" y="730349"/>
                  <a:ext cx="1060152" cy="1051202"/>
                </a:xfrm>
                <a:prstGeom prst="ellipse">
                  <a:avLst/>
                </a:prstGeom>
                <a:solidFill>
                  <a:schemeClr val="bg1"/>
                </a:solidFill>
                <a:ln w="12700" cap="flat" cmpd="sng" algn="ctr">
                  <a:noFill/>
                  <a:prstDash val="solid"/>
                  <a:round/>
                  <a:headEnd type="none" w="med" len="med"/>
                  <a:tailEnd type="none" w="med" len="med"/>
                </a:ln>
                <a:effectLst>
                  <a:innerShdw blurRad="63500" dist="50800">
                    <a:prstClr val="black">
                      <a:alpha val="50000"/>
                    </a:prstClr>
                  </a:inn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3733" dirty="0">
                      <a:solidFill>
                        <a:schemeClr val="bg1"/>
                      </a:solidFill>
                    </a:rPr>
                    <a:t>1</a:t>
                  </a:r>
                </a:p>
              </p:txBody>
            </p:sp>
          </p:grpSp>
        </p:grpSp>
        <p:sp>
          <p:nvSpPr>
            <p:cNvPr id="10" name="TextBox 9"/>
            <p:cNvSpPr txBox="1"/>
            <p:nvPr/>
          </p:nvSpPr>
          <p:spPr>
            <a:xfrm>
              <a:off x="7242792" y="547627"/>
              <a:ext cx="1429439" cy="789617"/>
            </a:xfrm>
            <a:prstGeom prst="rect">
              <a:avLst/>
            </a:prstGeom>
            <a:noFill/>
          </p:spPr>
          <p:txBody>
            <a:bodyPr wrap="square" rtlCol="0">
              <a:spAutoFit/>
            </a:bodyPr>
            <a:lstStyle/>
            <a:p>
              <a:pPr lvl="0" algn="ctr"/>
              <a:r>
                <a:rPr lang="en-US" sz="1800" dirty="0">
                  <a:solidFill>
                    <a:srgbClr val="D6492A"/>
                  </a:solidFill>
                  <a:latin typeface="Berlin Sans FB" panose="020E0602020502020306" pitchFamily="34" charset="0"/>
                </a:rPr>
                <a:t>Prediction </a:t>
              </a:r>
              <a:br>
                <a:rPr lang="en-US" sz="1867" dirty="0">
                  <a:solidFill>
                    <a:srgbClr val="000000">
                      <a:lumMod val="65000"/>
                      <a:lumOff val="35000"/>
                    </a:srgbClr>
                  </a:solidFill>
                </a:rPr>
              </a:br>
              <a:r>
                <a:rPr lang="en-US" sz="1600" dirty="0">
                  <a:solidFill>
                    <a:schemeClr val="tx1"/>
                  </a:solidFill>
                  <a:latin typeface="Futura Lt BT" panose="020B0402020204020303" pitchFamily="34" charset="0"/>
                  <a:sym typeface="Open Sans"/>
                </a:rPr>
                <a:t>Provide insights for the</a:t>
              </a:r>
              <a:r>
                <a:rPr lang="en-US" sz="1600" dirty="0">
                  <a:solidFill>
                    <a:schemeClr val="tx1"/>
                  </a:solidFill>
                  <a:latin typeface="Futura Lt BT" panose="020B0402020204020303" pitchFamily="34" charset="0"/>
                  <a:ea typeface="Open Sans"/>
                  <a:cs typeface="Open Sans"/>
                  <a:sym typeface="Open Sans"/>
                </a:rPr>
                <a:t> eligibility of an applicant</a:t>
              </a:r>
              <a:endParaRPr lang="en-US" sz="1600" dirty="0">
                <a:solidFill>
                  <a:schemeClr val="tx1"/>
                </a:solidFill>
              </a:endParaRPr>
            </a:p>
          </p:txBody>
        </p:sp>
        <p:sp>
          <p:nvSpPr>
            <p:cNvPr id="11" name="TextBox 10"/>
            <p:cNvSpPr txBox="1"/>
            <p:nvPr/>
          </p:nvSpPr>
          <p:spPr>
            <a:xfrm>
              <a:off x="2584359" y="1207608"/>
              <a:ext cx="1429439" cy="1169848"/>
            </a:xfrm>
            <a:prstGeom prst="rect">
              <a:avLst/>
            </a:prstGeom>
            <a:noFill/>
          </p:spPr>
          <p:txBody>
            <a:bodyPr wrap="square" rtlCol="0">
              <a:spAutoFit/>
            </a:bodyPr>
            <a:lstStyle/>
            <a:p>
              <a:pPr lvl="0" algn="ctr"/>
              <a:r>
                <a:rPr lang="en-US" sz="1867" dirty="0">
                  <a:solidFill>
                    <a:srgbClr val="D6492A"/>
                  </a:solidFill>
                </a:rPr>
                <a:t> </a:t>
              </a:r>
              <a:r>
                <a:rPr lang="en-US" sz="1800" dirty="0">
                  <a:solidFill>
                    <a:srgbClr val="D6492A"/>
                  </a:solidFill>
                  <a:latin typeface="Berlin Sans FB" panose="020E0602020502020306" pitchFamily="34" charset="0"/>
                </a:rPr>
                <a:t>Data drilling &amp;</a:t>
              </a:r>
            </a:p>
            <a:p>
              <a:pPr lvl="0" algn="ctr"/>
              <a:r>
                <a:rPr lang="en-US" sz="1800" dirty="0">
                  <a:solidFill>
                    <a:srgbClr val="D6492A"/>
                  </a:solidFill>
                  <a:latin typeface="Berlin Sans FB" panose="020E0602020502020306" pitchFamily="34" charset="0"/>
                </a:rPr>
                <a:t>ML Models</a:t>
              </a:r>
            </a:p>
            <a:p>
              <a:pPr algn="ctr"/>
              <a:r>
                <a:rPr lang="en-US" sz="1600" dirty="0">
                  <a:solidFill>
                    <a:srgbClr val="000000">
                      <a:lumMod val="65000"/>
                      <a:lumOff val="35000"/>
                    </a:srgbClr>
                  </a:solidFill>
                  <a:latin typeface="Futura Lt BT" panose="020B0402020204020303"/>
                </a:rPr>
                <a:t>Performing a comparison of various machine learning models</a:t>
              </a:r>
              <a:endParaRPr lang="en-US" sz="1600" dirty="0">
                <a:solidFill>
                  <a:srgbClr val="000000">
                    <a:lumMod val="65000"/>
                    <a:lumOff val="35000"/>
                  </a:srgbClr>
                </a:solidFill>
              </a:endParaRPr>
            </a:p>
          </p:txBody>
        </p:sp>
        <p:sp>
          <p:nvSpPr>
            <p:cNvPr id="12" name="TextBox 11"/>
            <p:cNvSpPr txBox="1"/>
            <p:nvPr/>
          </p:nvSpPr>
          <p:spPr>
            <a:xfrm>
              <a:off x="1284514" y="2903978"/>
              <a:ext cx="1490680" cy="614146"/>
            </a:xfrm>
            <a:prstGeom prst="rect">
              <a:avLst/>
            </a:prstGeom>
            <a:noFill/>
          </p:spPr>
          <p:txBody>
            <a:bodyPr wrap="square" rtlCol="0">
              <a:spAutoFit/>
            </a:bodyPr>
            <a:lstStyle/>
            <a:p>
              <a:pPr lvl="0" algn="ctr"/>
              <a:r>
                <a:rPr lang="en-US" sz="1800" dirty="0">
                  <a:solidFill>
                    <a:srgbClr val="D6492A"/>
                  </a:solidFill>
                  <a:latin typeface="Berlin Sans FB" panose="020E0602020502020306" pitchFamily="34" charset="0"/>
                </a:rPr>
                <a:t>Data Collection</a:t>
              </a:r>
            </a:p>
            <a:p>
              <a:pPr lvl="0" algn="ctr"/>
              <a:r>
                <a:rPr lang="en-US" sz="1600" dirty="0">
                  <a:solidFill>
                    <a:srgbClr val="000000">
                      <a:lumMod val="65000"/>
                      <a:lumOff val="35000"/>
                    </a:srgbClr>
                  </a:solidFill>
                  <a:latin typeface="Futura Lt BT" panose="020B0402020204020303"/>
                </a:rPr>
                <a:t>Gathered datasets from Kaggle </a:t>
              </a:r>
            </a:p>
          </p:txBody>
        </p:sp>
        <p:sp>
          <p:nvSpPr>
            <p:cNvPr id="13" name="TextBox 12"/>
            <p:cNvSpPr txBox="1"/>
            <p:nvPr/>
          </p:nvSpPr>
          <p:spPr>
            <a:xfrm>
              <a:off x="615284" y="3319304"/>
              <a:ext cx="523632" cy="263206"/>
            </a:xfrm>
            <a:prstGeom prst="rect">
              <a:avLst/>
            </a:prstGeom>
            <a:noFill/>
          </p:spPr>
          <p:txBody>
            <a:bodyPr wrap="none" rtlCol="0">
              <a:spAutoFit/>
            </a:bodyPr>
            <a:lstStyle/>
            <a:p>
              <a:r>
                <a:rPr lang="en-US" sz="1800" dirty="0">
                  <a:solidFill>
                    <a:srgbClr val="D6492A"/>
                  </a:solidFill>
                  <a:latin typeface="Berlin Sans FB" panose="020E0602020502020306" pitchFamily="34" charset="0"/>
                </a:rPr>
                <a:t>Read</a:t>
              </a:r>
            </a:p>
          </p:txBody>
        </p:sp>
        <p:sp>
          <p:nvSpPr>
            <p:cNvPr id="14" name="TextBox 13"/>
            <p:cNvSpPr txBox="1"/>
            <p:nvPr/>
          </p:nvSpPr>
          <p:spPr>
            <a:xfrm>
              <a:off x="3884790" y="2002906"/>
              <a:ext cx="732987" cy="270563"/>
            </a:xfrm>
            <a:prstGeom prst="rect">
              <a:avLst/>
            </a:prstGeom>
            <a:noFill/>
          </p:spPr>
          <p:txBody>
            <a:bodyPr wrap="none" rtlCol="0">
              <a:spAutoFit/>
            </a:bodyPr>
            <a:lstStyle/>
            <a:p>
              <a:pPr algn="ctr"/>
              <a:r>
                <a:rPr lang="en-US" sz="1867" b="1" dirty="0">
                  <a:solidFill>
                    <a:srgbClr val="D6492A"/>
                  </a:solidFill>
                </a:rPr>
                <a:t> </a:t>
              </a:r>
              <a:r>
                <a:rPr lang="en-US" sz="1800" dirty="0">
                  <a:solidFill>
                    <a:srgbClr val="D6492A"/>
                  </a:solidFill>
                  <a:latin typeface="Berlin Sans FB" panose="020E0602020502020306" pitchFamily="34" charset="0"/>
                </a:rPr>
                <a:t>Model </a:t>
              </a:r>
              <a:r>
                <a:rPr lang="en-US" sz="1867" b="1" dirty="0">
                  <a:solidFill>
                    <a:srgbClr val="D6492A"/>
                  </a:solidFill>
                </a:rPr>
                <a:t> </a:t>
              </a:r>
            </a:p>
          </p:txBody>
        </p:sp>
        <p:sp>
          <p:nvSpPr>
            <p:cNvPr id="15" name="TextBox 14"/>
            <p:cNvSpPr txBox="1"/>
            <p:nvPr/>
          </p:nvSpPr>
          <p:spPr>
            <a:xfrm>
              <a:off x="6504166" y="950190"/>
              <a:ext cx="676997" cy="263206"/>
            </a:xfrm>
            <a:prstGeom prst="rect">
              <a:avLst/>
            </a:prstGeom>
            <a:noFill/>
          </p:spPr>
          <p:txBody>
            <a:bodyPr wrap="none" rtlCol="0">
              <a:spAutoFit/>
            </a:bodyPr>
            <a:lstStyle/>
            <a:p>
              <a:r>
                <a:rPr lang="en-US" sz="1800" dirty="0">
                  <a:solidFill>
                    <a:srgbClr val="D6492A"/>
                  </a:solidFill>
                  <a:latin typeface="Berlin Sans FB" panose="020E0602020502020306" pitchFamily="34" charset="0"/>
                </a:rPr>
                <a:t>Output</a:t>
              </a:r>
            </a:p>
          </p:txBody>
        </p:sp>
        <p:sp>
          <p:nvSpPr>
            <p:cNvPr id="16" name="TextBox 15"/>
            <p:cNvSpPr txBox="1"/>
            <p:nvPr/>
          </p:nvSpPr>
          <p:spPr>
            <a:xfrm>
              <a:off x="6944252" y="2883716"/>
              <a:ext cx="518411" cy="286408"/>
            </a:xfrm>
            <a:prstGeom prst="rect">
              <a:avLst/>
            </a:prstGeom>
            <a:noFill/>
          </p:spPr>
          <p:txBody>
            <a:bodyPr wrap="none" rtlCol="0">
              <a:spAutoFit/>
            </a:bodyPr>
            <a:lstStyle/>
            <a:p>
              <a:r>
                <a:rPr lang="en-US" sz="1867" b="1" dirty="0">
                  <a:solidFill>
                    <a:srgbClr val="D6492A"/>
                  </a:solidFill>
                </a:rPr>
                <a:t>EDA</a:t>
              </a:r>
            </a:p>
          </p:txBody>
        </p:sp>
      </p:grpSp>
      <p:sp>
        <p:nvSpPr>
          <p:cNvPr id="37" name="Title 1"/>
          <p:cNvSpPr>
            <a:spLocks noGrp="1"/>
          </p:cNvSpPr>
          <p:nvPr>
            <p:ph type="title"/>
          </p:nvPr>
        </p:nvSpPr>
        <p:spPr>
          <a:xfrm>
            <a:off x="609600" y="317552"/>
            <a:ext cx="5577770" cy="722275"/>
          </a:xfrm>
        </p:spPr>
        <p:txBody>
          <a:bodyPr>
            <a:noAutofit/>
          </a:bodyPr>
          <a:lstStyle/>
          <a:p>
            <a:r>
              <a:rPr lang="en-US" sz="4100" dirty="0">
                <a:solidFill>
                  <a:schemeClr val="tx1"/>
                </a:solidFill>
                <a:latin typeface="Berlin Sans FB" panose="020E0602020502020306" pitchFamily="34" charset="0"/>
              </a:rPr>
              <a:t>Model Journey</a:t>
            </a:r>
          </a:p>
        </p:txBody>
      </p:sp>
      <p:grpSp>
        <p:nvGrpSpPr>
          <p:cNvPr id="3" name="Group 2"/>
          <p:cNvGrpSpPr/>
          <p:nvPr/>
        </p:nvGrpSpPr>
        <p:grpSpPr>
          <a:xfrm>
            <a:off x="609600" y="1062084"/>
            <a:ext cx="1950270" cy="1024275"/>
            <a:chOff x="112668" y="1336404"/>
            <a:chExt cx="1950270" cy="1024275"/>
          </a:xfrm>
        </p:grpSpPr>
        <p:sp>
          <p:nvSpPr>
            <p:cNvPr id="2" name="TextBox 1"/>
            <p:cNvSpPr txBox="1"/>
            <p:nvPr/>
          </p:nvSpPr>
          <p:spPr>
            <a:xfrm>
              <a:off x="112668" y="1336404"/>
              <a:ext cx="1880724" cy="307777"/>
            </a:xfrm>
            <a:prstGeom prst="rect">
              <a:avLst/>
            </a:prstGeom>
            <a:noFill/>
          </p:spPr>
          <p:txBody>
            <a:bodyPr wrap="square" rtlCol="0">
              <a:spAutoFit/>
            </a:bodyPr>
            <a:lstStyle/>
            <a:p>
              <a:pPr algn="ctr"/>
              <a:r>
                <a:rPr lang="en-US" dirty="0">
                  <a:solidFill>
                    <a:srgbClr val="D85234"/>
                  </a:solidFill>
                  <a:latin typeface="Berlin Sans FB" panose="020E0602020502020306" pitchFamily="34" charset="0"/>
                </a:rPr>
                <a:t>Tool used :</a:t>
              </a:r>
            </a:p>
          </p:txBody>
        </p:sp>
        <p:pic>
          <p:nvPicPr>
            <p:cNvPr id="38" name="Picture 37" descr="Icon&#10;&#10;Description automatically generated"/>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363" y="1745165"/>
              <a:ext cx="394360" cy="394792"/>
            </a:xfrm>
            <a:prstGeom prst="rect">
              <a:avLst/>
            </a:prstGeom>
            <a:noFill/>
            <a:ln>
              <a:noFill/>
            </a:ln>
          </p:spPr>
        </p:pic>
        <p:pic>
          <p:nvPicPr>
            <p:cNvPr id="39" name="Picture 38" descr="Logo, company name&#10;&#10;Description automatically generated"/>
            <p:cNvPicPr/>
            <p:nvPr/>
          </p:nvPicPr>
          <p:blipFill rotWithShape="1">
            <a:blip r:embed="rId4" cstate="print">
              <a:extLst>
                <a:ext uri="{28A0092B-C50C-407E-A947-70E740481C1C}">
                  <a14:useLocalDpi xmlns:a14="http://schemas.microsoft.com/office/drawing/2010/main" val="0"/>
                </a:ext>
              </a:extLst>
            </a:blip>
            <a:srcRect t="18550" b="25192"/>
            <a:stretch/>
          </p:blipFill>
          <p:spPr bwMode="auto">
            <a:xfrm>
              <a:off x="813625" y="1742431"/>
              <a:ext cx="628091" cy="306665"/>
            </a:xfrm>
            <a:prstGeom prst="rect">
              <a:avLst/>
            </a:prstGeom>
            <a:solidFill>
              <a:schemeClr val="bg1">
                <a:alpha val="0"/>
              </a:schemeClr>
            </a:solidFill>
            <a:ln>
              <a:noFill/>
            </a:ln>
            <a:extLst>
              <a:ext uri="{53640926-AAD7-44D8-BBD7-CCE9431645EC}">
                <a14:shadowObscured xmlns:a14="http://schemas.microsoft.com/office/drawing/2010/main"/>
              </a:ext>
            </a:extLst>
          </p:spPr>
        </p:pic>
        <p:pic>
          <p:nvPicPr>
            <p:cNvPr id="40" name="Picture 39" descr="Graphical user interface, icon&#10;&#10;Description automatically generated"/>
            <p:cNvPicPr/>
            <p:nvPr/>
          </p:nvPicPr>
          <p:blipFill rotWithShape="1">
            <a:blip r:embed="rId5" cstate="print">
              <a:extLst>
                <a:ext uri="{28A0092B-C50C-407E-A947-70E740481C1C}">
                  <a14:useLocalDpi xmlns:a14="http://schemas.microsoft.com/office/drawing/2010/main" val="0"/>
                </a:ext>
              </a:extLst>
            </a:blip>
            <a:srcRect l="25807" t="15460" r="25613" b="15414"/>
            <a:stretch/>
          </p:blipFill>
          <p:spPr bwMode="auto">
            <a:xfrm>
              <a:off x="1539557" y="1745616"/>
              <a:ext cx="439824" cy="409318"/>
            </a:xfrm>
            <a:prstGeom prst="rect">
              <a:avLst/>
            </a:prstGeom>
            <a:noFill/>
            <a:ln>
              <a:noFill/>
            </a:ln>
            <a:extLst>
              <a:ext uri="{53640926-AAD7-44D8-BBD7-CCE9431645EC}">
                <a14:shadowObscured xmlns:a14="http://schemas.microsoft.com/office/drawing/2010/main"/>
              </a:ext>
            </a:extLst>
          </p:spPr>
        </p:pic>
        <p:sp>
          <p:nvSpPr>
            <p:cNvPr id="41" name="TextBox 40"/>
            <p:cNvSpPr txBox="1"/>
            <p:nvPr/>
          </p:nvSpPr>
          <p:spPr>
            <a:xfrm>
              <a:off x="201061" y="2114458"/>
              <a:ext cx="569525" cy="246221"/>
            </a:xfrm>
            <a:prstGeom prst="rect">
              <a:avLst/>
            </a:prstGeom>
            <a:noFill/>
          </p:spPr>
          <p:txBody>
            <a:bodyPr wrap="square" rtlCol="0">
              <a:spAutoFit/>
            </a:bodyPr>
            <a:lstStyle/>
            <a:p>
              <a:r>
                <a:rPr lang="en-US" sz="1000" dirty="0">
                  <a:solidFill>
                    <a:schemeClr val="tx1"/>
                  </a:solidFill>
                  <a:latin typeface="Futura Lt BT" panose="020B0402020204020303"/>
                </a:rPr>
                <a:t>Python</a:t>
              </a:r>
            </a:p>
          </p:txBody>
        </p:sp>
        <p:sp>
          <p:nvSpPr>
            <p:cNvPr id="42" name="TextBox 41"/>
            <p:cNvSpPr txBox="1"/>
            <p:nvPr/>
          </p:nvSpPr>
          <p:spPr>
            <a:xfrm>
              <a:off x="828948" y="2114458"/>
              <a:ext cx="652845" cy="246221"/>
            </a:xfrm>
            <a:prstGeom prst="rect">
              <a:avLst/>
            </a:prstGeom>
            <a:noFill/>
          </p:spPr>
          <p:txBody>
            <a:bodyPr wrap="square" rtlCol="0">
              <a:spAutoFit/>
            </a:bodyPr>
            <a:lstStyle/>
            <a:p>
              <a:r>
                <a:rPr lang="en-US" sz="1000" dirty="0">
                  <a:solidFill>
                    <a:schemeClr val="tx1"/>
                  </a:solidFill>
                  <a:latin typeface="Futura Lt BT" panose="020B0402020204020303"/>
                </a:rPr>
                <a:t>Tableau</a:t>
              </a:r>
            </a:p>
          </p:txBody>
        </p:sp>
        <p:sp>
          <p:nvSpPr>
            <p:cNvPr id="43" name="TextBox 42"/>
            <p:cNvSpPr txBox="1"/>
            <p:nvPr/>
          </p:nvSpPr>
          <p:spPr>
            <a:xfrm>
              <a:off x="1493413" y="2114458"/>
              <a:ext cx="569525" cy="246221"/>
            </a:xfrm>
            <a:prstGeom prst="rect">
              <a:avLst/>
            </a:prstGeom>
            <a:noFill/>
          </p:spPr>
          <p:txBody>
            <a:bodyPr wrap="square" rtlCol="0">
              <a:spAutoFit/>
            </a:bodyPr>
            <a:lstStyle/>
            <a:p>
              <a:pPr algn="ctr"/>
              <a:r>
                <a:rPr lang="en-US" sz="1000" dirty="0">
                  <a:solidFill>
                    <a:schemeClr val="tx1"/>
                  </a:solidFill>
                  <a:latin typeface="Futura Lt BT" panose="020B0402020204020303"/>
                </a:rPr>
                <a:t>Excel</a:t>
              </a:r>
            </a:p>
          </p:txBody>
        </p:sp>
      </p:grpSp>
    </p:spTree>
    <p:extLst>
      <p:ext uri="{BB962C8B-B14F-4D97-AF65-F5344CB8AC3E}">
        <p14:creationId xmlns:p14="http://schemas.microsoft.com/office/powerpoint/2010/main" val="725438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D53893D-1482-25E0-A7E6-68C30ED0CDD0}"/>
              </a:ext>
            </a:extLst>
          </p:cNvPr>
          <p:cNvGrpSpPr/>
          <p:nvPr/>
        </p:nvGrpSpPr>
        <p:grpSpPr>
          <a:xfrm>
            <a:off x="443837" y="1161690"/>
            <a:ext cx="11313854" cy="5187760"/>
            <a:chOff x="2012338" y="1016351"/>
            <a:chExt cx="3417059" cy="3485794"/>
          </a:xfrm>
        </p:grpSpPr>
        <p:grpSp>
          <p:nvGrpSpPr>
            <p:cNvPr id="6" name="Group 5">
              <a:extLst>
                <a:ext uri="{FF2B5EF4-FFF2-40B4-BE49-F238E27FC236}">
                  <a16:creationId xmlns:a16="http://schemas.microsoft.com/office/drawing/2014/main" id="{337A88FD-1D50-334C-2B44-CB5D742EA92F}"/>
                </a:ext>
              </a:extLst>
            </p:cNvPr>
            <p:cNvGrpSpPr/>
            <p:nvPr/>
          </p:nvGrpSpPr>
          <p:grpSpPr>
            <a:xfrm>
              <a:off x="2012338" y="1016351"/>
              <a:ext cx="1687749" cy="3479394"/>
              <a:chOff x="2044995" y="1016351"/>
              <a:chExt cx="1687749" cy="3479394"/>
            </a:xfrm>
          </p:grpSpPr>
          <p:sp>
            <p:nvSpPr>
              <p:cNvPr id="16" name="Rounded Rectangle 29">
                <a:extLst>
                  <a:ext uri="{FF2B5EF4-FFF2-40B4-BE49-F238E27FC236}">
                    <a16:creationId xmlns:a16="http://schemas.microsoft.com/office/drawing/2014/main" id="{D19AB96A-228D-2F4A-6B83-9247AC7BE20D}"/>
                  </a:ext>
                </a:extLst>
              </p:cNvPr>
              <p:cNvSpPr/>
              <p:nvPr/>
            </p:nvSpPr>
            <p:spPr>
              <a:xfrm>
                <a:off x="2044995" y="1034089"/>
                <a:ext cx="1682978" cy="3461656"/>
              </a:xfrm>
              <a:prstGeom prst="roundRect">
                <a:avLst>
                  <a:gd name="adj" fmla="val 10098"/>
                </a:avLst>
              </a:prstGeom>
              <a:solidFill>
                <a:srgbClr val="E0E0E0"/>
              </a:solidFill>
              <a:ln w="9525">
                <a:noFill/>
              </a:ln>
              <a:effectLst>
                <a:outerShdw blurRad="50800" dist="254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05840" rIns="91440" bIns="0" numCol="1" spcCol="0" rtlCol="0" fromWordArt="0" anchor="t" anchorCtr="0" forceAA="0" compatLnSpc="1">
                <a:prstTxWarp prst="textNoShape">
                  <a:avLst/>
                </a:prstTxWarp>
                <a:noAutofit/>
              </a:bodyPr>
              <a:lstStyle/>
              <a:p>
                <a:pPr lvl="0"/>
                <a:endParaRPr lang="en-US" sz="1000" dirty="0">
                  <a:solidFill>
                    <a:srgbClr val="000000">
                      <a:lumMod val="65000"/>
                      <a:lumOff val="35000"/>
                    </a:srgbClr>
                  </a:solidFill>
                </a:endParaRPr>
              </a:p>
              <a:p>
                <a:pPr lvl="0"/>
                <a:r>
                  <a:rPr lang="en-US" dirty="0">
                    <a:solidFill>
                      <a:schemeClr val="tx1"/>
                    </a:solidFill>
                    <a:latin typeface="Futura Lt BT" panose="020B0402020204020303"/>
                  </a:rPr>
                  <a:t>Total records – 438557 rows X 18 columns</a:t>
                </a:r>
              </a:p>
              <a:p>
                <a:pPr lvl="0"/>
                <a:endParaRPr lang="en-US" dirty="0">
                  <a:solidFill>
                    <a:schemeClr val="tx1"/>
                  </a:solidFill>
                  <a:latin typeface="Futura Lt BT" panose="020B0402020204020303"/>
                </a:endParaRPr>
              </a:p>
              <a:p>
                <a:pPr lvl="0"/>
                <a:r>
                  <a:rPr lang="en-US" dirty="0">
                    <a:solidFill>
                      <a:schemeClr val="tx1"/>
                    </a:solidFill>
                    <a:latin typeface="Futura Lt BT" panose="020B0402020204020303"/>
                  </a:rPr>
                  <a:t>ID – Unique Id of the row</a:t>
                </a:r>
              </a:p>
              <a:p>
                <a:pPr lvl="0"/>
                <a:endParaRPr lang="en-US" dirty="0">
                  <a:solidFill>
                    <a:schemeClr val="tx1"/>
                  </a:solidFill>
                  <a:latin typeface="Futura Lt BT" panose="020B0402020204020303"/>
                </a:endParaRPr>
              </a:p>
              <a:p>
                <a:pPr lvl="0"/>
                <a:r>
                  <a:rPr lang="en-US" dirty="0">
                    <a:solidFill>
                      <a:schemeClr val="tx1"/>
                    </a:solidFill>
                    <a:latin typeface="Futura Lt BT" panose="020B0402020204020303"/>
                  </a:rPr>
                  <a:t>Categorical Variables  - CODE_GENDER ; FLAG_OWN_CAR ; FLAG_OWN_REALTY ; NAME_HOUSING_TYPE ; </a:t>
                </a:r>
              </a:p>
              <a:p>
                <a:pPr lvl="0"/>
                <a:r>
                  <a:rPr lang="en-US" dirty="0">
                    <a:solidFill>
                      <a:schemeClr val="tx1"/>
                    </a:solidFill>
                    <a:latin typeface="Futura Lt BT" panose="020B0402020204020303"/>
                  </a:rPr>
                  <a:t>CNT_CHILDREN ; CNT_FAM_MENBERS;</a:t>
                </a:r>
              </a:p>
              <a:p>
                <a:r>
                  <a:rPr lang="en-US" dirty="0">
                    <a:solidFill>
                      <a:schemeClr val="tx1"/>
                    </a:solidFill>
                    <a:latin typeface="Futura Lt BT" panose="020B0402020204020303"/>
                  </a:rPr>
                  <a:t>NAME_INCOME_TYPE ; NAME_EDUCATION_TYPE ; </a:t>
                </a:r>
              </a:p>
              <a:p>
                <a:r>
                  <a:rPr lang="en-US" dirty="0">
                    <a:solidFill>
                      <a:schemeClr val="tx1"/>
                    </a:solidFill>
                    <a:latin typeface="Futura Lt BT" panose="020B0402020204020303"/>
                  </a:rPr>
                  <a:t>NAME_FAMILY_STATUS ; FLAG_MOBILE ; </a:t>
                </a:r>
              </a:p>
              <a:p>
                <a:r>
                  <a:rPr lang="en-US" dirty="0">
                    <a:solidFill>
                      <a:schemeClr val="tx1"/>
                    </a:solidFill>
                    <a:latin typeface="Futura Lt BT" panose="020B0402020204020303"/>
                  </a:rPr>
                  <a:t>FLAG_WORK_PHONE ; FLAG_PHONE ; </a:t>
                </a:r>
              </a:p>
              <a:p>
                <a:r>
                  <a:rPr lang="en-US" dirty="0">
                    <a:solidFill>
                      <a:schemeClr val="tx1"/>
                    </a:solidFill>
                    <a:latin typeface="Futura Lt BT" panose="020B0402020204020303"/>
                  </a:rPr>
                  <a:t>FLAG_EMAIL ; OCCUPATION_TYPE</a:t>
                </a:r>
              </a:p>
              <a:p>
                <a:pPr lvl="0"/>
                <a:endParaRPr lang="en-US" dirty="0">
                  <a:solidFill>
                    <a:schemeClr val="tx1"/>
                  </a:solidFill>
                  <a:latin typeface="Futura Lt BT" panose="020B0402020204020303"/>
                </a:endParaRPr>
              </a:p>
              <a:p>
                <a:r>
                  <a:rPr lang="en-US" dirty="0">
                    <a:solidFill>
                      <a:schemeClr val="tx1"/>
                    </a:solidFill>
                    <a:latin typeface="Futura Lt BT" panose="020B0402020204020303"/>
                  </a:rPr>
                  <a:t>Continuous Variables - AMT_INCOME_TOTAL ; DAYS_BIRTH ; DAYS_EMPLOYED</a:t>
                </a:r>
              </a:p>
              <a:p>
                <a:endParaRPr lang="en-US" sz="1200" dirty="0">
                  <a:solidFill>
                    <a:schemeClr val="tx1"/>
                  </a:solidFill>
                  <a:latin typeface="Futura Lt BT" panose="020B0402020204020303"/>
                </a:endParaRPr>
              </a:p>
              <a:p>
                <a:pPr lvl="0"/>
                <a:endParaRPr lang="en-US" sz="1200" dirty="0">
                  <a:solidFill>
                    <a:schemeClr val="tx1"/>
                  </a:solidFill>
                  <a:latin typeface="Futura Lt BT" panose="020B0402020204020303"/>
                </a:endParaRPr>
              </a:p>
              <a:p>
                <a:pPr lvl="0"/>
                <a:endParaRPr lang="en-US" dirty="0">
                  <a:solidFill>
                    <a:srgbClr val="000000">
                      <a:lumMod val="65000"/>
                      <a:lumOff val="35000"/>
                    </a:srgbClr>
                  </a:solidFill>
                  <a:latin typeface="Futura Lt BT" panose="020B0402020204020303"/>
                </a:endParaRPr>
              </a:p>
              <a:p>
                <a:pPr lvl="0"/>
                <a:endParaRPr lang="en-US" dirty="0">
                  <a:solidFill>
                    <a:srgbClr val="000000">
                      <a:lumMod val="65000"/>
                      <a:lumOff val="35000"/>
                    </a:srgbClr>
                  </a:solidFill>
                  <a:latin typeface="Futura Lt BT" panose="020B0402020204020303"/>
                </a:endParaRPr>
              </a:p>
              <a:p>
                <a:pPr lvl="0"/>
                <a:endParaRPr lang="en-US" dirty="0">
                  <a:solidFill>
                    <a:srgbClr val="000000">
                      <a:lumMod val="65000"/>
                      <a:lumOff val="35000"/>
                    </a:srgbClr>
                  </a:solidFill>
                  <a:latin typeface="Futura Lt BT" panose="020B0402020204020303"/>
                </a:endParaRPr>
              </a:p>
              <a:p>
                <a:pPr lvl="0"/>
                <a:r>
                  <a:rPr lang="en-US" dirty="0">
                    <a:solidFill>
                      <a:srgbClr val="000000">
                        <a:lumMod val="65000"/>
                        <a:lumOff val="35000"/>
                      </a:srgbClr>
                    </a:solidFill>
                  </a:rPr>
                  <a:t> </a:t>
                </a:r>
              </a:p>
              <a:p>
                <a:pPr lvl="0"/>
                <a:r>
                  <a:rPr lang="en-US" dirty="0">
                    <a:solidFill>
                      <a:srgbClr val="000000">
                        <a:lumMod val="65000"/>
                        <a:lumOff val="35000"/>
                      </a:srgbClr>
                    </a:solidFill>
                  </a:rPr>
                  <a:t> </a:t>
                </a:r>
              </a:p>
            </p:txBody>
          </p:sp>
          <p:sp>
            <p:nvSpPr>
              <p:cNvPr id="17" name="Rounded Rectangle 27">
                <a:extLst>
                  <a:ext uri="{FF2B5EF4-FFF2-40B4-BE49-F238E27FC236}">
                    <a16:creationId xmlns:a16="http://schemas.microsoft.com/office/drawing/2014/main" id="{FEE17A5D-0D4A-FA6B-B47D-51CC9B0FE21D}"/>
                  </a:ext>
                </a:extLst>
              </p:cNvPr>
              <p:cNvSpPr/>
              <p:nvPr/>
            </p:nvSpPr>
            <p:spPr>
              <a:xfrm>
                <a:off x="2050749" y="1016351"/>
                <a:ext cx="1681995" cy="778903"/>
              </a:xfrm>
              <a:prstGeom prst="wedgeRoundRectCallout">
                <a:avLst>
                  <a:gd name="adj1" fmla="val -44778"/>
                  <a:gd name="adj2" fmla="val 47870"/>
                  <a:gd name="adj3" fmla="val 16667"/>
                </a:avLst>
              </a:prstGeom>
              <a:solidFill>
                <a:srgbClr val="00588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Berlin Sans FB" panose="020E0602020502020306" pitchFamily="34" charset="0"/>
                    <a:cs typeface="Arial" pitchFamily="34" charset="0"/>
                  </a:rPr>
                  <a:t>Application Records</a:t>
                </a:r>
              </a:p>
              <a:p>
                <a:pPr algn="ctr"/>
                <a:r>
                  <a:rPr lang="en-US" dirty="0">
                    <a:solidFill>
                      <a:schemeClr val="bg1"/>
                    </a:solidFill>
                    <a:latin typeface="Futura Lt BT" panose="020B0402020204020303"/>
                  </a:rPr>
                  <a:t>Applicants personal &amp; demographics details</a:t>
                </a:r>
                <a:r>
                  <a:rPr lang="en-US" sz="2400" dirty="0">
                    <a:solidFill>
                      <a:schemeClr val="bg1"/>
                    </a:solidFill>
                    <a:latin typeface="Berlin Sans FB" panose="020E0602020502020306" pitchFamily="34" charset="0"/>
                    <a:cs typeface="Arial" pitchFamily="34" charset="0"/>
                  </a:rPr>
                  <a:t> </a:t>
                </a:r>
                <a:endParaRPr lang="en-US" sz="2400" dirty="0">
                  <a:solidFill>
                    <a:schemeClr val="bg1"/>
                  </a:solidFill>
                  <a:latin typeface="Berlin Sans FB" panose="020E0602020502020306" pitchFamily="34" charset="0"/>
                </a:endParaRPr>
              </a:p>
            </p:txBody>
          </p:sp>
        </p:grpSp>
        <p:sp>
          <p:nvSpPr>
            <p:cNvPr id="14" name="Rounded Rectangle 31">
              <a:extLst>
                <a:ext uri="{FF2B5EF4-FFF2-40B4-BE49-F238E27FC236}">
                  <a16:creationId xmlns:a16="http://schemas.microsoft.com/office/drawing/2014/main" id="{4A30E044-DCF6-411E-CF5A-140BD4CAFFA0}"/>
                </a:ext>
              </a:extLst>
            </p:cNvPr>
            <p:cNvSpPr/>
            <p:nvPr/>
          </p:nvSpPr>
          <p:spPr>
            <a:xfrm>
              <a:off x="3746419" y="1040489"/>
              <a:ext cx="1682978" cy="3461656"/>
            </a:xfrm>
            <a:prstGeom prst="roundRect">
              <a:avLst>
                <a:gd name="adj" fmla="val 10098"/>
              </a:avLst>
            </a:prstGeom>
            <a:solidFill>
              <a:srgbClr val="E0E0E0"/>
            </a:solidFill>
            <a:ln w="9525">
              <a:noFill/>
            </a:ln>
            <a:effectLst>
              <a:outerShdw blurRad="50800" dist="25400" algn="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05840" rIns="91440" bIns="0" numCol="1" spcCol="0" rtlCol="0" fromWordArt="0" anchor="t" anchorCtr="0" forceAA="0" compatLnSpc="1">
              <a:prstTxWarp prst="textNoShape">
                <a:avLst/>
              </a:prstTxWarp>
              <a:noAutofit/>
            </a:bodyPr>
            <a:lstStyle/>
            <a:p>
              <a:pPr lvl="0"/>
              <a:endParaRPr lang="en-US" dirty="0">
                <a:solidFill>
                  <a:schemeClr val="tx1"/>
                </a:solidFill>
              </a:endParaRPr>
            </a:p>
            <a:p>
              <a:pPr lvl="0"/>
              <a:r>
                <a:rPr lang="en-US" dirty="0">
                  <a:solidFill>
                    <a:schemeClr val="tx1"/>
                  </a:solidFill>
                  <a:latin typeface="Futura Lt BT" panose="020B0402020204020303"/>
                </a:rPr>
                <a:t>Total records – 1048575 rows X 3 columns</a:t>
              </a:r>
            </a:p>
            <a:p>
              <a:pPr lvl="0"/>
              <a:endParaRPr lang="en-US" dirty="0">
                <a:solidFill>
                  <a:schemeClr val="tx1"/>
                </a:solidFill>
                <a:latin typeface="Futura Lt BT" panose="020B0402020204020303"/>
              </a:endParaRPr>
            </a:p>
            <a:p>
              <a:pPr lvl="0"/>
              <a:r>
                <a:rPr lang="en-US" dirty="0">
                  <a:solidFill>
                    <a:schemeClr val="tx1"/>
                  </a:solidFill>
                  <a:latin typeface="Futura Lt BT" panose="020B0402020204020303"/>
                </a:rPr>
                <a:t>ID – Unique Id </a:t>
              </a:r>
            </a:p>
            <a:p>
              <a:endParaRPr lang="en-US" dirty="0">
                <a:solidFill>
                  <a:schemeClr val="tx1"/>
                </a:solidFill>
                <a:latin typeface="Futura Lt BT" panose="020B0402020204020303"/>
              </a:endParaRPr>
            </a:p>
            <a:p>
              <a:r>
                <a:rPr lang="en-US" dirty="0">
                  <a:solidFill>
                    <a:schemeClr val="tx1"/>
                  </a:solidFill>
                  <a:latin typeface="Futura Lt BT" panose="020B0402020204020303"/>
                </a:rPr>
                <a:t>MONTHS_BALANCE - The month of the extracted data is the starting point, backwards, 0 is the current month, -1 is the previous month, and so on</a:t>
              </a:r>
            </a:p>
            <a:p>
              <a:pPr lvl="0"/>
              <a:endParaRPr lang="en-US" dirty="0">
                <a:solidFill>
                  <a:schemeClr val="tx1"/>
                </a:solidFill>
                <a:latin typeface="Futura Lt BT" panose="020B0402020204020303"/>
              </a:endParaRPr>
            </a:p>
            <a:p>
              <a:r>
                <a:rPr lang="en-US" dirty="0">
                  <a:solidFill>
                    <a:schemeClr val="tx1"/>
                  </a:solidFill>
                  <a:latin typeface="Futura Lt BT" panose="020B0402020204020303"/>
                </a:rPr>
                <a:t>STATUS - 0: 1-29 days past due 1: 30-59 days past due 2: 60-89 days overdue 3: 90-119 days overdue 4: 120-149 days overdue 5: Overdue or bad debts, write-offs for more than 150 days C: paid off that month X: No loan for the month</a:t>
              </a:r>
            </a:p>
            <a:p>
              <a:pPr lvl="0"/>
              <a:endParaRPr lang="en-US" sz="1200" dirty="0">
                <a:solidFill>
                  <a:srgbClr val="000000">
                    <a:lumMod val="65000"/>
                    <a:lumOff val="35000"/>
                  </a:srgbClr>
                </a:solidFill>
                <a:latin typeface="Futura Lt BT" panose="020B0402020204020303"/>
              </a:endParaRPr>
            </a:p>
            <a:p>
              <a:pPr lvl="0"/>
              <a:endParaRPr lang="en-US" sz="1200" dirty="0">
                <a:solidFill>
                  <a:srgbClr val="000000">
                    <a:lumMod val="65000"/>
                    <a:lumOff val="35000"/>
                  </a:srgbClr>
                </a:solidFill>
                <a:latin typeface="Futura Lt BT" panose="020B0402020204020303"/>
              </a:endParaRPr>
            </a:p>
            <a:p>
              <a:pPr lvl="0"/>
              <a:r>
                <a:rPr lang="en-US" sz="1200" dirty="0">
                  <a:solidFill>
                    <a:srgbClr val="000000">
                      <a:lumMod val="65000"/>
                      <a:lumOff val="35000"/>
                    </a:srgbClr>
                  </a:solidFill>
                  <a:latin typeface="Futura Lt BT" panose="020B0402020204020303"/>
                </a:rPr>
                <a:t>   </a:t>
              </a:r>
            </a:p>
          </p:txBody>
        </p:sp>
      </p:grpSp>
      <p:sp>
        <p:nvSpPr>
          <p:cNvPr id="13" name="Title 2">
            <a:extLst>
              <a:ext uri="{FF2B5EF4-FFF2-40B4-BE49-F238E27FC236}">
                <a16:creationId xmlns:a16="http://schemas.microsoft.com/office/drawing/2014/main" id="{4B3DCF99-4807-2F21-1158-C2E750E92F00}"/>
              </a:ext>
            </a:extLst>
          </p:cNvPr>
          <p:cNvSpPr txBox="1">
            <a:spLocks/>
          </p:cNvSpPr>
          <p:nvPr/>
        </p:nvSpPr>
        <p:spPr>
          <a:xfrm>
            <a:off x="656074" y="331227"/>
            <a:ext cx="10673771" cy="68874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Data Summary  </a:t>
            </a:r>
          </a:p>
        </p:txBody>
      </p:sp>
      <p:sp>
        <p:nvSpPr>
          <p:cNvPr id="10" name="Rounded Rectangle 27">
            <a:extLst>
              <a:ext uri="{FF2B5EF4-FFF2-40B4-BE49-F238E27FC236}">
                <a16:creationId xmlns:a16="http://schemas.microsoft.com/office/drawing/2014/main" id="{FEE17A5D-0D4A-FA6B-B47D-51CC9B0FE21D}"/>
              </a:ext>
            </a:extLst>
          </p:cNvPr>
          <p:cNvSpPr/>
          <p:nvPr/>
        </p:nvSpPr>
        <p:spPr>
          <a:xfrm>
            <a:off x="6196938" y="1142640"/>
            <a:ext cx="5569072" cy="1159208"/>
          </a:xfrm>
          <a:prstGeom prst="wedgeRoundRectCallout">
            <a:avLst>
              <a:gd name="adj1" fmla="val -46830"/>
              <a:gd name="adj2" fmla="val 43761"/>
              <a:gd name="adj3" fmla="val 16667"/>
            </a:avLst>
          </a:prstGeom>
          <a:solidFill>
            <a:srgbClr val="36A3C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Berlin Sans FB" panose="020E0602020502020306" pitchFamily="34" charset="0"/>
                <a:cs typeface="Arial" pitchFamily="34" charset="0"/>
              </a:rPr>
              <a:t>Credit Records</a:t>
            </a:r>
          </a:p>
          <a:p>
            <a:pPr algn="ctr"/>
            <a:r>
              <a:rPr lang="en-US" dirty="0">
                <a:solidFill>
                  <a:schemeClr val="bg1"/>
                </a:solidFill>
                <a:latin typeface="Futura Lt BT" panose="020B0402020204020303"/>
              </a:rPr>
              <a:t>Credit history of the existing clients</a:t>
            </a:r>
            <a:r>
              <a:rPr lang="en-US" sz="2400" dirty="0">
                <a:solidFill>
                  <a:schemeClr val="bg1"/>
                </a:solidFill>
                <a:latin typeface="Berlin Sans FB" panose="020E0602020502020306" pitchFamily="34" charset="0"/>
                <a:cs typeface="Arial" pitchFamily="34" charset="0"/>
              </a:rPr>
              <a:t> </a:t>
            </a:r>
            <a:endParaRPr lang="en-US" sz="2400" dirty="0">
              <a:solidFill>
                <a:schemeClr val="bg1"/>
              </a:solidFill>
              <a:latin typeface="Berlin Sans FB" panose="020E0602020502020306" pitchFamily="34" charset="0"/>
            </a:endParaRPr>
          </a:p>
        </p:txBody>
      </p:sp>
    </p:spTree>
    <p:extLst>
      <p:ext uri="{BB962C8B-B14F-4D97-AF65-F5344CB8AC3E}">
        <p14:creationId xmlns:p14="http://schemas.microsoft.com/office/powerpoint/2010/main" val="3414391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2472" y="3723997"/>
            <a:ext cx="11370067" cy="1273995"/>
          </a:xfrm>
          <a:prstGeom prst="rect">
            <a:avLst/>
          </a:prstGeom>
          <a:solidFill>
            <a:srgbClr val="E0E0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4" name="Rectangle 3"/>
          <p:cNvSpPr/>
          <p:nvPr/>
        </p:nvSpPr>
        <p:spPr>
          <a:xfrm>
            <a:off x="342472" y="5093884"/>
            <a:ext cx="11370067" cy="1273995"/>
          </a:xfrm>
          <a:prstGeom prst="rect">
            <a:avLst/>
          </a:prstGeom>
          <a:solidFill>
            <a:srgbClr val="E0E0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5" name="Freeform 4"/>
          <p:cNvSpPr/>
          <p:nvPr/>
        </p:nvSpPr>
        <p:spPr>
          <a:xfrm>
            <a:off x="342473" y="5100017"/>
            <a:ext cx="2506895" cy="1273995"/>
          </a:xfrm>
          <a:custGeom>
            <a:avLst/>
            <a:gdLst>
              <a:gd name="connsiteX0" fmla="*/ 0 w 1880171"/>
              <a:gd name="connsiteY0" fmla="*/ 0 h 955496"/>
              <a:gd name="connsiteX1" fmla="*/ 1880171 w 1880171"/>
              <a:gd name="connsiteY1" fmla="*/ 0 h 955496"/>
              <a:gd name="connsiteX2" fmla="*/ 1402423 w 1880171"/>
              <a:gd name="connsiteY2" fmla="*/ 477748 h 955496"/>
              <a:gd name="connsiteX3" fmla="*/ 1880171 w 1880171"/>
              <a:gd name="connsiteY3" fmla="*/ 955496 h 955496"/>
              <a:gd name="connsiteX4" fmla="*/ 0 w 1880171"/>
              <a:gd name="connsiteY4" fmla="*/ 955496 h 955496"/>
              <a:gd name="connsiteX5" fmla="*/ 0 w 1880171"/>
              <a:gd name="connsiteY5" fmla="*/ 0 h 95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0171" h="955496">
                <a:moveTo>
                  <a:pt x="0" y="0"/>
                </a:moveTo>
                <a:lnTo>
                  <a:pt x="1880171" y="0"/>
                </a:lnTo>
                <a:cubicBezTo>
                  <a:pt x="1616318" y="0"/>
                  <a:pt x="1402423" y="213895"/>
                  <a:pt x="1402423" y="477748"/>
                </a:cubicBezTo>
                <a:cubicBezTo>
                  <a:pt x="1402423" y="741601"/>
                  <a:pt x="1616318" y="955496"/>
                  <a:pt x="1880171" y="955496"/>
                </a:cubicBezTo>
                <a:lnTo>
                  <a:pt x="0" y="955496"/>
                </a:lnTo>
                <a:lnTo>
                  <a:pt x="0" y="0"/>
                </a:lnTo>
                <a:close/>
              </a:path>
            </a:pathLst>
          </a:custGeom>
          <a:solidFill>
            <a:srgbClr val="00588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6" name="Oval 5"/>
          <p:cNvSpPr/>
          <p:nvPr/>
        </p:nvSpPr>
        <p:spPr>
          <a:xfrm>
            <a:off x="2308261" y="5195909"/>
            <a:ext cx="1082211" cy="1082211"/>
          </a:xfrm>
          <a:prstGeom prst="ellipse">
            <a:avLst/>
          </a:prstGeom>
          <a:solidFill>
            <a:srgbClr val="048C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7" name="Freeform 6"/>
          <p:cNvSpPr/>
          <p:nvPr/>
        </p:nvSpPr>
        <p:spPr>
          <a:xfrm>
            <a:off x="342473" y="3723997"/>
            <a:ext cx="2506895" cy="1273995"/>
          </a:xfrm>
          <a:custGeom>
            <a:avLst/>
            <a:gdLst>
              <a:gd name="connsiteX0" fmla="*/ 0 w 1880171"/>
              <a:gd name="connsiteY0" fmla="*/ 0 h 955496"/>
              <a:gd name="connsiteX1" fmla="*/ 1880171 w 1880171"/>
              <a:gd name="connsiteY1" fmla="*/ 0 h 955496"/>
              <a:gd name="connsiteX2" fmla="*/ 1402423 w 1880171"/>
              <a:gd name="connsiteY2" fmla="*/ 477748 h 955496"/>
              <a:gd name="connsiteX3" fmla="*/ 1880171 w 1880171"/>
              <a:gd name="connsiteY3" fmla="*/ 955496 h 955496"/>
              <a:gd name="connsiteX4" fmla="*/ 0 w 1880171"/>
              <a:gd name="connsiteY4" fmla="*/ 955496 h 955496"/>
              <a:gd name="connsiteX5" fmla="*/ 0 w 1880171"/>
              <a:gd name="connsiteY5" fmla="*/ 0 h 95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0171" h="955496">
                <a:moveTo>
                  <a:pt x="0" y="0"/>
                </a:moveTo>
                <a:lnTo>
                  <a:pt x="1880171" y="0"/>
                </a:lnTo>
                <a:cubicBezTo>
                  <a:pt x="1616318" y="0"/>
                  <a:pt x="1402423" y="213895"/>
                  <a:pt x="1402423" y="477748"/>
                </a:cubicBezTo>
                <a:cubicBezTo>
                  <a:pt x="1402423" y="741601"/>
                  <a:pt x="1616318" y="955496"/>
                  <a:pt x="1880171" y="955496"/>
                </a:cubicBezTo>
                <a:lnTo>
                  <a:pt x="0" y="955496"/>
                </a:lnTo>
                <a:lnTo>
                  <a:pt x="0" y="0"/>
                </a:lnTo>
                <a:close/>
              </a:path>
            </a:pathLst>
          </a:custGeom>
          <a:solidFill>
            <a:srgbClr val="048C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8" name="Oval 7"/>
          <p:cNvSpPr/>
          <p:nvPr/>
        </p:nvSpPr>
        <p:spPr>
          <a:xfrm>
            <a:off x="2308261" y="3819889"/>
            <a:ext cx="1082211" cy="1082211"/>
          </a:xfrm>
          <a:prstGeom prst="ellipse">
            <a:avLst/>
          </a:prstGeom>
          <a:solidFill>
            <a:srgbClr val="00588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10" name="TextBox 9"/>
          <p:cNvSpPr txBox="1"/>
          <p:nvPr/>
        </p:nvSpPr>
        <p:spPr>
          <a:xfrm>
            <a:off x="520557" y="3971144"/>
            <a:ext cx="1787704" cy="707886"/>
          </a:xfrm>
          <a:prstGeom prst="rect">
            <a:avLst/>
          </a:prstGeom>
          <a:noFill/>
        </p:spPr>
        <p:txBody>
          <a:bodyPr wrap="square" rtlCol="0">
            <a:spAutoFit/>
          </a:bodyPr>
          <a:lstStyle/>
          <a:p>
            <a:pPr algn="ctr"/>
            <a:r>
              <a:rPr lang="en-US" sz="2000" dirty="0">
                <a:solidFill>
                  <a:schemeClr val="bg1"/>
                </a:solidFill>
                <a:latin typeface="Berlin Sans FB" panose="020E0602020502020306" pitchFamily="34" charset="0"/>
              </a:rPr>
              <a:t>Application</a:t>
            </a:r>
          </a:p>
          <a:p>
            <a:pPr algn="ctr"/>
            <a:r>
              <a:rPr lang="en-US" sz="2000" dirty="0">
                <a:solidFill>
                  <a:schemeClr val="bg1"/>
                </a:solidFill>
                <a:latin typeface="Berlin Sans FB" panose="020E0602020502020306" pitchFamily="34" charset="0"/>
              </a:rPr>
              <a:t>Record </a:t>
            </a:r>
          </a:p>
        </p:txBody>
      </p:sp>
      <p:sp>
        <p:nvSpPr>
          <p:cNvPr id="13" name="Freeform 37"/>
          <p:cNvSpPr>
            <a:spLocks noEditPoints="1"/>
          </p:cNvSpPr>
          <p:nvPr/>
        </p:nvSpPr>
        <p:spPr bwMode="auto">
          <a:xfrm>
            <a:off x="2608241" y="4080567"/>
            <a:ext cx="482252" cy="560853"/>
          </a:xfrm>
          <a:custGeom>
            <a:avLst/>
            <a:gdLst>
              <a:gd name="T0" fmla="*/ 1069 w 2038"/>
              <a:gd name="T1" fmla="*/ 893 h 2433"/>
              <a:gd name="T2" fmla="*/ 1361 w 2038"/>
              <a:gd name="T3" fmla="*/ 1056 h 2433"/>
              <a:gd name="T4" fmla="*/ 1479 w 2038"/>
              <a:gd name="T5" fmla="*/ 744 h 2433"/>
              <a:gd name="T6" fmla="*/ 375 w 2038"/>
              <a:gd name="T7" fmla="*/ 49 h 2433"/>
              <a:gd name="T8" fmla="*/ 26 w 2038"/>
              <a:gd name="T9" fmla="*/ 155 h 2433"/>
              <a:gd name="T10" fmla="*/ 203 w 2038"/>
              <a:gd name="T11" fmla="*/ 439 h 2433"/>
              <a:gd name="T12" fmla="*/ 1323 w 2038"/>
              <a:gd name="T13" fmla="*/ 918 h 2433"/>
              <a:gd name="T14" fmla="*/ 1241 w 2038"/>
              <a:gd name="T15" fmla="*/ 784 h 2433"/>
              <a:gd name="T16" fmla="*/ 292 w 2038"/>
              <a:gd name="T17" fmla="*/ 277 h 2433"/>
              <a:gd name="T18" fmla="*/ 176 w 2038"/>
              <a:gd name="T19" fmla="*/ 171 h 2433"/>
              <a:gd name="T20" fmla="*/ 1620 w 2038"/>
              <a:gd name="T21" fmla="*/ 334 h 2433"/>
              <a:gd name="T22" fmla="*/ 1001 w 2038"/>
              <a:gd name="T23" fmla="*/ 867 h 2433"/>
              <a:gd name="T24" fmla="*/ 758 w 2038"/>
              <a:gd name="T25" fmla="*/ 630 h 2433"/>
              <a:gd name="T26" fmla="*/ 577 w 2038"/>
              <a:gd name="T27" fmla="*/ 933 h 2433"/>
              <a:gd name="T28" fmla="*/ 563 w 2038"/>
              <a:gd name="T29" fmla="*/ 1681 h 2433"/>
              <a:gd name="T30" fmla="*/ 846 w 2038"/>
              <a:gd name="T31" fmla="*/ 1858 h 2433"/>
              <a:gd name="T32" fmla="*/ 949 w 2038"/>
              <a:gd name="T33" fmla="*/ 1504 h 2433"/>
              <a:gd name="T34" fmla="*/ 2025 w 2038"/>
              <a:gd name="T35" fmla="*/ 177 h 2433"/>
              <a:gd name="T36" fmla="*/ 1693 w 2038"/>
              <a:gd name="T37" fmla="*/ 33 h 2433"/>
              <a:gd name="T38" fmla="*/ 1230 w 2038"/>
              <a:gd name="T39" fmla="*/ 8 h 2433"/>
              <a:gd name="T40" fmla="*/ 1082 w 2038"/>
              <a:gd name="T41" fmla="*/ 307 h 2433"/>
              <a:gd name="T42" fmla="*/ 825 w 2038"/>
              <a:gd name="T43" fmla="*/ 1713 h 2433"/>
              <a:gd name="T44" fmla="*/ 731 w 2038"/>
              <a:gd name="T45" fmla="*/ 1587 h 2433"/>
              <a:gd name="T46" fmla="*/ 731 w 2038"/>
              <a:gd name="T47" fmla="*/ 909 h 2433"/>
              <a:gd name="T48" fmla="*/ 825 w 2038"/>
              <a:gd name="T49" fmla="*/ 784 h 2433"/>
              <a:gd name="T50" fmla="*/ 1840 w 2038"/>
              <a:gd name="T51" fmla="*/ 148 h 2433"/>
              <a:gd name="T52" fmla="*/ 1786 w 2038"/>
              <a:gd name="T53" fmla="*/ 296 h 2433"/>
              <a:gd name="T54" fmla="*/ 1294 w 2038"/>
              <a:gd name="T55" fmla="*/ 143 h 2433"/>
              <a:gd name="T56" fmla="*/ 1285 w 2038"/>
              <a:gd name="T57" fmla="*/ 299 h 2433"/>
              <a:gd name="T58" fmla="*/ 1277 w 2038"/>
              <a:gd name="T59" fmla="*/ 143 h 2433"/>
              <a:gd name="T60" fmla="*/ 1985 w 2038"/>
              <a:gd name="T61" fmla="*/ 1524 h 2433"/>
              <a:gd name="T62" fmla="*/ 1631 w 2038"/>
              <a:gd name="T63" fmla="*/ 1508 h 2433"/>
              <a:gd name="T64" fmla="*/ 1704 w 2038"/>
              <a:gd name="T65" fmla="*/ 2023 h 2433"/>
              <a:gd name="T66" fmla="*/ 1229 w 2038"/>
              <a:gd name="T67" fmla="*/ 2005 h 2433"/>
              <a:gd name="T68" fmla="*/ 1111 w 2038"/>
              <a:gd name="T69" fmla="*/ 2318 h 2433"/>
              <a:gd name="T70" fmla="*/ 1495 w 2038"/>
              <a:gd name="T71" fmla="*/ 2324 h 2433"/>
              <a:gd name="T72" fmla="*/ 1932 w 2038"/>
              <a:gd name="T73" fmla="*/ 2401 h 2433"/>
              <a:gd name="T74" fmla="*/ 1901 w 2038"/>
              <a:gd name="T75" fmla="*/ 2008 h 2433"/>
              <a:gd name="T76" fmla="*/ 1274 w 2038"/>
              <a:gd name="T77" fmla="*/ 2141 h 2433"/>
              <a:gd name="T78" fmla="*/ 1342 w 2038"/>
              <a:gd name="T79" fmla="*/ 2281 h 2433"/>
              <a:gd name="T80" fmla="*/ 1851 w 2038"/>
              <a:gd name="T81" fmla="*/ 1708 h 2433"/>
              <a:gd name="T82" fmla="*/ 1746 w 2038"/>
              <a:gd name="T83" fmla="*/ 1592 h 2433"/>
              <a:gd name="T84" fmla="*/ 1753 w 2038"/>
              <a:gd name="T85" fmla="*/ 2169 h 2433"/>
              <a:gd name="T86" fmla="*/ 1887 w 2038"/>
              <a:gd name="T87" fmla="*/ 2250 h 2433"/>
              <a:gd name="T88" fmla="*/ 1475 w 2038"/>
              <a:gd name="T89" fmla="*/ 1788 h 2433"/>
              <a:gd name="T90" fmla="*/ 1410 w 2038"/>
              <a:gd name="T91" fmla="*/ 1455 h 2433"/>
              <a:gd name="T92" fmla="*/ 1098 w 2038"/>
              <a:gd name="T93" fmla="*/ 1572 h 2433"/>
              <a:gd name="T94" fmla="*/ 669 w 2038"/>
              <a:gd name="T95" fmla="*/ 2022 h 2433"/>
              <a:gd name="T96" fmla="*/ 447 w 2038"/>
              <a:gd name="T97" fmla="*/ 916 h 2433"/>
              <a:gd name="T98" fmla="*/ 248 w 2038"/>
              <a:gd name="T99" fmla="*/ 629 h 2433"/>
              <a:gd name="T100" fmla="*/ 19 w 2038"/>
              <a:gd name="T101" fmla="*/ 886 h 2433"/>
              <a:gd name="T102" fmla="*/ 0 w 2038"/>
              <a:gd name="T103" fmla="*/ 2212 h 2433"/>
              <a:gd name="T104" fmla="*/ 275 w 2038"/>
              <a:gd name="T105" fmla="*/ 2426 h 2433"/>
              <a:gd name="T106" fmla="*/ 793 w 2038"/>
              <a:gd name="T107" fmla="*/ 2433 h 2433"/>
              <a:gd name="T108" fmla="*/ 987 w 2038"/>
              <a:gd name="T109" fmla="*/ 2133 h 2433"/>
              <a:gd name="T110" fmla="*/ 1328 w 2038"/>
              <a:gd name="T111" fmla="*/ 1723 h 2433"/>
              <a:gd name="T112" fmla="*/ 1274 w 2038"/>
              <a:gd name="T113" fmla="*/ 1576 h 2433"/>
              <a:gd name="T114" fmla="*/ 177 w 2038"/>
              <a:gd name="T115" fmla="*/ 2148 h 2433"/>
              <a:gd name="T116" fmla="*/ 270 w 2038"/>
              <a:gd name="T117" fmla="*/ 2273 h 2433"/>
              <a:gd name="T118" fmla="*/ 176 w 2038"/>
              <a:gd name="T119" fmla="*/ 799 h 2433"/>
              <a:gd name="T120" fmla="*/ 302 w 2038"/>
              <a:gd name="T121" fmla="*/ 893 h 2433"/>
              <a:gd name="T122" fmla="*/ 709 w 2038"/>
              <a:gd name="T123" fmla="*/ 2182 h 2433"/>
              <a:gd name="T124" fmla="*/ 856 w 2038"/>
              <a:gd name="T125" fmla="*/ 2236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8" h="2433">
                <a:moveTo>
                  <a:pt x="236" y="442"/>
                </a:moveTo>
                <a:lnTo>
                  <a:pt x="255" y="441"/>
                </a:lnTo>
                <a:lnTo>
                  <a:pt x="274" y="439"/>
                </a:lnTo>
                <a:lnTo>
                  <a:pt x="291" y="435"/>
                </a:lnTo>
                <a:lnTo>
                  <a:pt x="308" y="429"/>
                </a:lnTo>
                <a:lnTo>
                  <a:pt x="325" y="422"/>
                </a:lnTo>
                <a:lnTo>
                  <a:pt x="341" y="415"/>
                </a:lnTo>
                <a:lnTo>
                  <a:pt x="356" y="406"/>
                </a:lnTo>
                <a:lnTo>
                  <a:pt x="371" y="396"/>
                </a:lnTo>
                <a:lnTo>
                  <a:pt x="384" y="385"/>
                </a:lnTo>
                <a:lnTo>
                  <a:pt x="396" y="373"/>
                </a:lnTo>
                <a:lnTo>
                  <a:pt x="408" y="360"/>
                </a:lnTo>
                <a:lnTo>
                  <a:pt x="418" y="346"/>
                </a:lnTo>
                <a:lnTo>
                  <a:pt x="427" y="330"/>
                </a:lnTo>
                <a:lnTo>
                  <a:pt x="437" y="314"/>
                </a:lnTo>
                <a:lnTo>
                  <a:pt x="443" y="298"/>
                </a:lnTo>
                <a:lnTo>
                  <a:pt x="449" y="281"/>
                </a:lnTo>
                <a:lnTo>
                  <a:pt x="670" y="281"/>
                </a:lnTo>
                <a:lnTo>
                  <a:pt x="1107" y="719"/>
                </a:lnTo>
                <a:lnTo>
                  <a:pt x="1098" y="733"/>
                </a:lnTo>
                <a:lnTo>
                  <a:pt x="1089" y="747"/>
                </a:lnTo>
                <a:lnTo>
                  <a:pt x="1082" y="763"/>
                </a:lnTo>
                <a:lnTo>
                  <a:pt x="1076" y="780"/>
                </a:lnTo>
                <a:lnTo>
                  <a:pt x="1071" y="796"/>
                </a:lnTo>
                <a:lnTo>
                  <a:pt x="1068" y="813"/>
                </a:lnTo>
                <a:lnTo>
                  <a:pt x="1066" y="831"/>
                </a:lnTo>
                <a:lnTo>
                  <a:pt x="1065" y="848"/>
                </a:lnTo>
                <a:lnTo>
                  <a:pt x="1065" y="861"/>
                </a:lnTo>
                <a:lnTo>
                  <a:pt x="1066" y="872"/>
                </a:lnTo>
                <a:lnTo>
                  <a:pt x="1067" y="883"/>
                </a:lnTo>
                <a:lnTo>
                  <a:pt x="1069" y="893"/>
                </a:lnTo>
                <a:lnTo>
                  <a:pt x="1072" y="904"/>
                </a:lnTo>
                <a:lnTo>
                  <a:pt x="1075" y="914"/>
                </a:lnTo>
                <a:lnTo>
                  <a:pt x="1078" y="924"/>
                </a:lnTo>
                <a:lnTo>
                  <a:pt x="1082" y="934"/>
                </a:lnTo>
                <a:lnTo>
                  <a:pt x="1086" y="945"/>
                </a:lnTo>
                <a:lnTo>
                  <a:pt x="1091" y="954"/>
                </a:lnTo>
                <a:lnTo>
                  <a:pt x="1096" y="963"/>
                </a:lnTo>
                <a:lnTo>
                  <a:pt x="1102" y="972"/>
                </a:lnTo>
                <a:lnTo>
                  <a:pt x="1115" y="989"/>
                </a:lnTo>
                <a:lnTo>
                  <a:pt x="1130" y="1005"/>
                </a:lnTo>
                <a:lnTo>
                  <a:pt x="1145" y="1019"/>
                </a:lnTo>
                <a:lnTo>
                  <a:pt x="1162" y="1032"/>
                </a:lnTo>
                <a:lnTo>
                  <a:pt x="1171" y="1038"/>
                </a:lnTo>
                <a:lnTo>
                  <a:pt x="1180" y="1043"/>
                </a:lnTo>
                <a:lnTo>
                  <a:pt x="1189" y="1048"/>
                </a:lnTo>
                <a:lnTo>
                  <a:pt x="1199" y="1052"/>
                </a:lnTo>
                <a:lnTo>
                  <a:pt x="1210" y="1056"/>
                </a:lnTo>
                <a:lnTo>
                  <a:pt x="1220" y="1060"/>
                </a:lnTo>
                <a:lnTo>
                  <a:pt x="1230" y="1063"/>
                </a:lnTo>
                <a:lnTo>
                  <a:pt x="1241" y="1065"/>
                </a:lnTo>
                <a:lnTo>
                  <a:pt x="1252" y="1067"/>
                </a:lnTo>
                <a:lnTo>
                  <a:pt x="1263" y="1068"/>
                </a:lnTo>
                <a:lnTo>
                  <a:pt x="1274" y="1069"/>
                </a:lnTo>
                <a:lnTo>
                  <a:pt x="1285" y="1069"/>
                </a:lnTo>
                <a:lnTo>
                  <a:pt x="1297" y="1069"/>
                </a:lnTo>
                <a:lnTo>
                  <a:pt x="1308" y="1068"/>
                </a:lnTo>
                <a:lnTo>
                  <a:pt x="1319" y="1067"/>
                </a:lnTo>
                <a:lnTo>
                  <a:pt x="1330" y="1065"/>
                </a:lnTo>
                <a:lnTo>
                  <a:pt x="1340" y="1063"/>
                </a:lnTo>
                <a:lnTo>
                  <a:pt x="1351" y="1060"/>
                </a:lnTo>
                <a:lnTo>
                  <a:pt x="1361" y="1056"/>
                </a:lnTo>
                <a:lnTo>
                  <a:pt x="1371" y="1052"/>
                </a:lnTo>
                <a:lnTo>
                  <a:pt x="1381" y="1048"/>
                </a:lnTo>
                <a:lnTo>
                  <a:pt x="1391" y="1043"/>
                </a:lnTo>
                <a:lnTo>
                  <a:pt x="1400" y="1038"/>
                </a:lnTo>
                <a:lnTo>
                  <a:pt x="1409" y="1032"/>
                </a:lnTo>
                <a:lnTo>
                  <a:pt x="1425" y="1019"/>
                </a:lnTo>
                <a:lnTo>
                  <a:pt x="1441" y="1005"/>
                </a:lnTo>
                <a:lnTo>
                  <a:pt x="1455" y="989"/>
                </a:lnTo>
                <a:lnTo>
                  <a:pt x="1469" y="972"/>
                </a:lnTo>
                <a:lnTo>
                  <a:pt x="1474" y="963"/>
                </a:lnTo>
                <a:lnTo>
                  <a:pt x="1479" y="954"/>
                </a:lnTo>
                <a:lnTo>
                  <a:pt x="1484" y="945"/>
                </a:lnTo>
                <a:lnTo>
                  <a:pt x="1489" y="934"/>
                </a:lnTo>
                <a:lnTo>
                  <a:pt x="1493" y="924"/>
                </a:lnTo>
                <a:lnTo>
                  <a:pt x="1496" y="914"/>
                </a:lnTo>
                <a:lnTo>
                  <a:pt x="1499" y="904"/>
                </a:lnTo>
                <a:lnTo>
                  <a:pt x="1501" y="893"/>
                </a:lnTo>
                <a:lnTo>
                  <a:pt x="1503" y="883"/>
                </a:lnTo>
                <a:lnTo>
                  <a:pt x="1505" y="872"/>
                </a:lnTo>
                <a:lnTo>
                  <a:pt x="1506" y="861"/>
                </a:lnTo>
                <a:lnTo>
                  <a:pt x="1506" y="848"/>
                </a:lnTo>
                <a:lnTo>
                  <a:pt x="1506" y="837"/>
                </a:lnTo>
                <a:lnTo>
                  <a:pt x="1505" y="826"/>
                </a:lnTo>
                <a:lnTo>
                  <a:pt x="1503" y="815"/>
                </a:lnTo>
                <a:lnTo>
                  <a:pt x="1501" y="805"/>
                </a:lnTo>
                <a:lnTo>
                  <a:pt x="1499" y="794"/>
                </a:lnTo>
                <a:lnTo>
                  <a:pt x="1496" y="784"/>
                </a:lnTo>
                <a:lnTo>
                  <a:pt x="1493" y="774"/>
                </a:lnTo>
                <a:lnTo>
                  <a:pt x="1489" y="763"/>
                </a:lnTo>
                <a:lnTo>
                  <a:pt x="1484" y="753"/>
                </a:lnTo>
                <a:lnTo>
                  <a:pt x="1479" y="744"/>
                </a:lnTo>
                <a:lnTo>
                  <a:pt x="1474" y="735"/>
                </a:lnTo>
                <a:lnTo>
                  <a:pt x="1469" y="726"/>
                </a:lnTo>
                <a:lnTo>
                  <a:pt x="1455" y="709"/>
                </a:lnTo>
                <a:lnTo>
                  <a:pt x="1441" y="693"/>
                </a:lnTo>
                <a:lnTo>
                  <a:pt x="1425" y="678"/>
                </a:lnTo>
                <a:lnTo>
                  <a:pt x="1409" y="666"/>
                </a:lnTo>
                <a:lnTo>
                  <a:pt x="1400" y="660"/>
                </a:lnTo>
                <a:lnTo>
                  <a:pt x="1391" y="655"/>
                </a:lnTo>
                <a:lnTo>
                  <a:pt x="1381" y="650"/>
                </a:lnTo>
                <a:lnTo>
                  <a:pt x="1371" y="646"/>
                </a:lnTo>
                <a:lnTo>
                  <a:pt x="1361" y="642"/>
                </a:lnTo>
                <a:lnTo>
                  <a:pt x="1351" y="638"/>
                </a:lnTo>
                <a:lnTo>
                  <a:pt x="1340" y="635"/>
                </a:lnTo>
                <a:lnTo>
                  <a:pt x="1330" y="633"/>
                </a:lnTo>
                <a:lnTo>
                  <a:pt x="1319" y="631"/>
                </a:lnTo>
                <a:lnTo>
                  <a:pt x="1308" y="630"/>
                </a:lnTo>
                <a:lnTo>
                  <a:pt x="1297" y="629"/>
                </a:lnTo>
                <a:lnTo>
                  <a:pt x="1285" y="629"/>
                </a:lnTo>
                <a:lnTo>
                  <a:pt x="1270" y="629"/>
                </a:lnTo>
                <a:lnTo>
                  <a:pt x="1255" y="631"/>
                </a:lnTo>
                <a:lnTo>
                  <a:pt x="1240" y="633"/>
                </a:lnTo>
                <a:lnTo>
                  <a:pt x="1226" y="637"/>
                </a:lnTo>
                <a:lnTo>
                  <a:pt x="729" y="139"/>
                </a:lnTo>
                <a:lnTo>
                  <a:pt x="442" y="139"/>
                </a:lnTo>
                <a:lnTo>
                  <a:pt x="435" y="124"/>
                </a:lnTo>
                <a:lnTo>
                  <a:pt x="427" y="110"/>
                </a:lnTo>
                <a:lnTo>
                  <a:pt x="418" y="97"/>
                </a:lnTo>
                <a:lnTo>
                  <a:pt x="408" y="83"/>
                </a:lnTo>
                <a:lnTo>
                  <a:pt x="398" y="71"/>
                </a:lnTo>
                <a:lnTo>
                  <a:pt x="387" y="59"/>
                </a:lnTo>
                <a:lnTo>
                  <a:pt x="375" y="49"/>
                </a:lnTo>
                <a:lnTo>
                  <a:pt x="362" y="39"/>
                </a:lnTo>
                <a:lnTo>
                  <a:pt x="348" y="31"/>
                </a:lnTo>
                <a:lnTo>
                  <a:pt x="333" y="23"/>
                </a:lnTo>
                <a:lnTo>
                  <a:pt x="318" y="17"/>
                </a:lnTo>
                <a:lnTo>
                  <a:pt x="303" y="11"/>
                </a:lnTo>
                <a:lnTo>
                  <a:pt x="287" y="7"/>
                </a:lnTo>
                <a:lnTo>
                  <a:pt x="271" y="2"/>
                </a:lnTo>
                <a:lnTo>
                  <a:pt x="253" y="1"/>
                </a:lnTo>
                <a:lnTo>
                  <a:pt x="236" y="0"/>
                </a:lnTo>
                <a:lnTo>
                  <a:pt x="225" y="0"/>
                </a:lnTo>
                <a:lnTo>
                  <a:pt x="214" y="1"/>
                </a:lnTo>
                <a:lnTo>
                  <a:pt x="203" y="2"/>
                </a:lnTo>
                <a:lnTo>
                  <a:pt x="192" y="4"/>
                </a:lnTo>
                <a:lnTo>
                  <a:pt x="182" y="8"/>
                </a:lnTo>
                <a:lnTo>
                  <a:pt x="172" y="11"/>
                </a:lnTo>
                <a:lnTo>
                  <a:pt x="160" y="14"/>
                </a:lnTo>
                <a:lnTo>
                  <a:pt x="151" y="18"/>
                </a:lnTo>
                <a:lnTo>
                  <a:pt x="141" y="22"/>
                </a:lnTo>
                <a:lnTo>
                  <a:pt x="132" y="27"/>
                </a:lnTo>
                <a:lnTo>
                  <a:pt x="122" y="32"/>
                </a:lnTo>
                <a:lnTo>
                  <a:pt x="114" y="38"/>
                </a:lnTo>
                <a:lnTo>
                  <a:pt x="97" y="51"/>
                </a:lnTo>
                <a:lnTo>
                  <a:pt x="80" y="65"/>
                </a:lnTo>
                <a:lnTo>
                  <a:pt x="66" y="80"/>
                </a:lnTo>
                <a:lnTo>
                  <a:pt x="54" y="98"/>
                </a:lnTo>
                <a:lnTo>
                  <a:pt x="48" y="107"/>
                </a:lnTo>
                <a:lnTo>
                  <a:pt x="43" y="116"/>
                </a:lnTo>
                <a:lnTo>
                  <a:pt x="38" y="125"/>
                </a:lnTo>
                <a:lnTo>
                  <a:pt x="34" y="135"/>
                </a:lnTo>
                <a:lnTo>
                  <a:pt x="30" y="145"/>
                </a:lnTo>
                <a:lnTo>
                  <a:pt x="26" y="155"/>
                </a:lnTo>
                <a:lnTo>
                  <a:pt x="23" y="165"/>
                </a:lnTo>
                <a:lnTo>
                  <a:pt x="21" y="177"/>
                </a:lnTo>
                <a:lnTo>
                  <a:pt x="19" y="188"/>
                </a:lnTo>
                <a:lnTo>
                  <a:pt x="17" y="199"/>
                </a:lnTo>
                <a:lnTo>
                  <a:pt x="17" y="210"/>
                </a:lnTo>
                <a:lnTo>
                  <a:pt x="16" y="221"/>
                </a:lnTo>
                <a:lnTo>
                  <a:pt x="17" y="232"/>
                </a:lnTo>
                <a:lnTo>
                  <a:pt x="17" y="243"/>
                </a:lnTo>
                <a:lnTo>
                  <a:pt x="19" y="254"/>
                </a:lnTo>
                <a:lnTo>
                  <a:pt x="21" y="266"/>
                </a:lnTo>
                <a:lnTo>
                  <a:pt x="23" y="276"/>
                </a:lnTo>
                <a:lnTo>
                  <a:pt x="26" y="287"/>
                </a:lnTo>
                <a:lnTo>
                  <a:pt x="30" y="297"/>
                </a:lnTo>
                <a:lnTo>
                  <a:pt x="34" y="307"/>
                </a:lnTo>
                <a:lnTo>
                  <a:pt x="38" y="316"/>
                </a:lnTo>
                <a:lnTo>
                  <a:pt x="43" y="326"/>
                </a:lnTo>
                <a:lnTo>
                  <a:pt x="48" y="335"/>
                </a:lnTo>
                <a:lnTo>
                  <a:pt x="54" y="344"/>
                </a:lnTo>
                <a:lnTo>
                  <a:pt x="66" y="361"/>
                </a:lnTo>
                <a:lnTo>
                  <a:pt x="80" y="377"/>
                </a:lnTo>
                <a:lnTo>
                  <a:pt x="97" y="391"/>
                </a:lnTo>
                <a:lnTo>
                  <a:pt x="114" y="404"/>
                </a:lnTo>
                <a:lnTo>
                  <a:pt x="122" y="409"/>
                </a:lnTo>
                <a:lnTo>
                  <a:pt x="132" y="414"/>
                </a:lnTo>
                <a:lnTo>
                  <a:pt x="141" y="419"/>
                </a:lnTo>
                <a:lnTo>
                  <a:pt x="151" y="424"/>
                </a:lnTo>
                <a:lnTo>
                  <a:pt x="160" y="428"/>
                </a:lnTo>
                <a:lnTo>
                  <a:pt x="172" y="432"/>
                </a:lnTo>
                <a:lnTo>
                  <a:pt x="182" y="435"/>
                </a:lnTo>
                <a:lnTo>
                  <a:pt x="192" y="437"/>
                </a:lnTo>
                <a:lnTo>
                  <a:pt x="203" y="439"/>
                </a:lnTo>
                <a:lnTo>
                  <a:pt x="214" y="441"/>
                </a:lnTo>
                <a:lnTo>
                  <a:pt x="225" y="442"/>
                </a:lnTo>
                <a:lnTo>
                  <a:pt x="236" y="442"/>
                </a:lnTo>
                <a:close/>
                <a:moveTo>
                  <a:pt x="1285" y="770"/>
                </a:moveTo>
                <a:lnTo>
                  <a:pt x="1294" y="770"/>
                </a:lnTo>
                <a:lnTo>
                  <a:pt x="1301" y="772"/>
                </a:lnTo>
                <a:lnTo>
                  <a:pt x="1309" y="774"/>
                </a:lnTo>
                <a:lnTo>
                  <a:pt x="1316" y="777"/>
                </a:lnTo>
                <a:lnTo>
                  <a:pt x="1323" y="780"/>
                </a:lnTo>
                <a:lnTo>
                  <a:pt x="1329" y="784"/>
                </a:lnTo>
                <a:lnTo>
                  <a:pt x="1335" y="789"/>
                </a:lnTo>
                <a:lnTo>
                  <a:pt x="1341" y="794"/>
                </a:lnTo>
                <a:lnTo>
                  <a:pt x="1346" y="799"/>
                </a:lnTo>
                <a:lnTo>
                  <a:pt x="1350" y="805"/>
                </a:lnTo>
                <a:lnTo>
                  <a:pt x="1354" y="812"/>
                </a:lnTo>
                <a:lnTo>
                  <a:pt x="1357" y="818"/>
                </a:lnTo>
                <a:lnTo>
                  <a:pt x="1360" y="825"/>
                </a:lnTo>
                <a:lnTo>
                  <a:pt x="1362" y="833"/>
                </a:lnTo>
                <a:lnTo>
                  <a:pt x="1363" y="841"/>
                </a:lnTo>
                <a:lnTo>
                  <a:pt x="1363" y="848"/>
                </a:lnTo>
                <a:lnTo>
                  <a:pt x="1363" y="856"/>
                </a:lnTo>
                <a:lnTo>
                  <a:pt x="1362" y="865"/>
                </a:lnTo>
                <a:lnTo>
                  <a:pt x="1360" y="873"/>
                </a:lnTo>
                <a:lnTo>
                  <a:pt x="1357" y="880"/>
                </a:lnTo>
                <a:lnTo>
                  <a:pt x="1354" y="886"/>
                </a:lnTo>
                <a:lnTo>
                  <a:pt x="1350" y="893"/>
                </a:lnTo>
                <a:lnTo>
                  <a:pt x="1346" y="899"/>
                </a:lnTo>
                <a:lnTo>
                  <a:pt x="1341" y="904"/>
                </a:lnTo>
                <a:lnTo>
                  <a:pt x="1335" y="909"/>
                </a:lnTo>
                <a:lnTo>
                  <a:pt x="1329" y="914"/>
                </a:lnTo>
                <a:lnTo>
                  <a:pt x="1323" y="918"/>
                </a:lnTo>
                <a:lnTo>
                  <a:pt x="1316" y="921"/>
                </a:lnTo>
                <a:lnTo>
                  <a:pt x="1309" y="924"/>
                </a:lnTo>
                <a:lnTo>
                  <a:pt x="1301" y="925"/>
                </a:lnTo>
                <a:lnTo>
                  <a:pt x="1294" y="927"/>
                </a:lnTo>
                <a:lnTo>
                  <a:pt x="1285" y="927"/>
                </a:lnTo>
                <a:lnTo>
                  <a:pt x="1277" y="927"/>
                </a:lnTo>
                <a:lnTo>
                  <a:pt x="1269" y="925"/>
                </a:lnTo>
                <a:lnTo>
                  <a:pt x="1262" y="924"/>
                </a:lnTo>
                <a:lnTo>
                  <a:pt x="1255" y="921"/>
                </a:lnTo>
                <a:lnTo>
                  <a:pt x="1248" y="918"/>
                </a:lnTo>
                <a:lnTo>
                  <a:pt x="1241" y="914"/>
                </a:lnTo>
                <a:lnTo>
                  <a:pt x="1235" y="909"/>
                </a:lnTo>
                <a:lnTo>
                  <a:pt x="1230" y="904"/>
                </a:lnTo>
                <a:lnTo>
                  <a:pt x="1225" y="899"/>
                </a:lnTo>
                <a:lnTo>
                  <a:pt x="1220" y="893"/>
                </a:lnTo>
                <a:lnTo>
                  <a:pt x="1217" y="886"/>
                </a:lnTo>
                <a:lnTo>
                  <a:pt x="1213" y="880"/>
                </a:lnTo>
                <a:lnTo>
                  <a:pt x="1211" y="873"/>
                </a:lnTo>
                <a:lnTo>
                  <a:pt x="1209" y="865"/>
                </a:lnTo>
                <a:lnTo>
                  <a:pt x="1208" y="856"/>
                </a:lnTo>
                <a:lnTo>
                  <a:pt x="1207" y="848"/>
                </a:lnTo>
                <a:lnTo>
                  <a:pt x="1208" y="841"/>
                </a:lnTo>
                <a:lnTo>
                  <a:pt x="1209" y="833"/>
                </a:lnTo>
                <a:lnTo>
                  <a:pt x="1211" y="825"/>
                </a:lnTo>
                <a:lnTo>
                  <a:pt x="1213" y="818"/>
                </a:lnTo>
                <a:lnTo>
                  <a:pt x="1217" y="812"/>
                </a:lnTo>
                <a:lnTo>
                  <a:pt x="1220" y="805"/>
                </a:lnTo>
                <a:lnTo>
                  <a:pt x="1225" y="799"/>
                </a:lnTo>
                <a:lnTo>
                  <a:pt x="1230" y="794"/>
                </a:lnTo>
                <a:lnTo>
                  <a:pt x="1235" y="789"/>
                </a:lnTo>
                <a:lnTo>
                  <a:pt x="1241" y="784"/>
                </a:lnTo>
                <a:lnTo>
                  <a:pt x="1248" y="780"/>
                </a:lnTo>
                <a:lnTo>
                  <a:pt x="1255" y="777"/>
                </a:lnTo>
                <a:lnTo>
                  <a:pt x="1262" y="774"/>
                </a:lnTo>
                <a:lnTo>
                  <a:pt x="1269" y="772"/>
                </a:lnTo>
                <a:lnTo>
                  <a:pt x="1277" y="770"/>
                </a:lnTo>
                <a:lnTo>
                  <a:pt x="1285" y="770"/>
                </a:lnTo>
                <a:close/>
                <a:moveTo>
                  <a:pt x="236" y="142"/>
                </a:moveTo>
                <a:lnTo>
                  <a:pt x="244" y="143"/>
                </a:lnTo>
                <a:lnTo>
                  <a:pt x="252" y="144"/>
                </a:lnTo>
                <a:lnTo>
                  <a:pt x="260" y="146"/>
                </a:lnTo>
                <a:lnTo>
                  <a:pt x="267" y="148"/>
                </a:lnTo>
                <a:lnTo>
                  <a:pt x="274" y="152"/>
                </a:lnTo>
                <a:lnTo>
                  <a:pt x="281" y="156"/>
                </a:lnTo>
                <a:lnTo>
                  <a:pt x="287" y="160"/>
                </a:lnTo>
                <a:lnTo>
                  <a:pt x="292" y="165"/>
                </a:lnTo>
                <a:lnTo>
                  <a:pt x="297" y="171"/>
                </a:lnTo>
                <a:lnTo>
                  <a:pt x="302" y="177"/>
                </a:lnTo>
                <a:lnTo>
                  <a:pt x="306" y="184"/>
                </a:lnTo>
                <a:lnTo>
                  <a:pt x="309" y="191"/>
                </a:lnTo>
                <a:lnTo>
                  <a:pt x="311" y="198"/>
                </a:lnTo>
                <a:lnTo>
                  <a:pt x="313" y="205"/>
                </a:lnTo>
                <a:lnTo>
                  <a:pt x="314" y="213"/>
                </a:lnTo>
                <a:lnTo>
                  <a:pt x="315" y="221"/>
                </a:lnTo>
                <a:lnTo>
                  <a:pt x="314" y="229"/>
                </a:lnTo>
                <a:lnTo>
                  <a:pt x="313" y="236"/>
                </a:lnTo>
                <a:lnTo>
                  <a:pt x="311" y="244"/>
                </a:lnTo>
                <a:lnTo>
                  <a:pt x="309" y="251"/>
                </a:lnTo>
                <a:lnTo>
                  <a:pt x="306" y="258"/>
                </a:lnTo>
                <a:lnTo>
                  <a:pt x="302" y="265"/>
                </a:lnTo>
                <a:lnTo>
                  <a:pt x="297" y="271"/>
                </a:lnTo>
                <a:lnTo>
                  <a:pt x="292" y="277"/>
                </a:lnTo>
                <a:lnTo>
                  <a:pt x="287" y="282"/>
                </a:lnTo>
                <a:lnTo>
                  <a:pt x="281" y="286"/>
                </a:lnTo>
                <a:lnTo>
                  <a:pt x="274" y="290"/>
                </a:lnTo>
                <a:lnTo>
                  <a:pt x="267" y="293"/>
                </a:lnTo>
                <a:lnTo>
                  <a:pt x="260" y="296"/>
                </a:lnTo>
                <a:lnTo>
                  <a:pt x="252" y="298"/>
                </a:lnTo>
                <a:lnTo>
                  <a:pt x="244" y="299"/>
                </a:lnTo>
                <a:lnTo>
                  <a:pt x="236" y="299"/>
                </a:lnTo>
                <a:lnTo>
                  <a:pt x="228" y="299"/>
                </a:lnTo>
                <a:lnTo>
                  <a:pt x="221" y="298"/>
                </a:lnTo>
                <a:lnTo>
                  <a:pt x="213" y="296"/>
                </a:lnTo>
                <a:lnTo>
                  <a:pt x="206" y="293"/>
                </a:lnTo>
                <a:lnTo>
                  <a:pt x="199" y="290"/>
                </a:lnTo>
                <a:lnTo>
                  <a:pt x="193" y="286"/>
                </a:lnTo>
                <a:lnTo>
                  <a:pt x="187" y="282"/>
                </a:lnTo>
                <a:lnTo>
                  <a:pt x="181" y="277"/>
                </a:lnTo>
                <a:lnTo>
                  <a:pt x="176" y="271"/>
                </a:lnTo>
                <a:lnTo>
                  <a:pt x="172" y="265"/>
                </a:lnTo>
                <a:lnTo>
                  <a:pt x="167" y="258"/>
                </a:lnTo>
                <a:lnTo>
                  <a:pt x="164" y="251"/>
                </a:lnTo>
                <a:lnTo>
                  <a:pt x="161" y="244"/>
                </a:lnTo>
                <a:lnTo>
                  <a:pt x="159" y="236"/>
                </a:lnTo>
                <a:lnTo>
                  <a:pt x="158" y="229"/>
                </a:lnTo>
                <a:lnTo>
                  <a:pt x="158" y="221"/>
                </a:lnTo>
                <a:lnTo>
                  <a:pt x="158" y="213"/>
                </a:lnTo>
                <a:lnTo>
                  <a:pt x="159" y="205"/>
                </a:lnTo>
                <a:lnTo>
                  <a:pt x="161" y="198"/>
                </a:lnTo>
                <a:lnTo>
                  <a:pt x="164" y="191"/>
                </a:lnTo>
                <a:lnTo>
                  <a:pt x="167" y="184"/>
                </a:lnTo>
                <a:lnTo>
                  <a:pt x="172" y="177"/>
                </a:lnTo>
                <a:lnTo>
                  <a:pt x="176" y="171"/>
                </a:lnTo>
                <a:lnTo>
                  <a:pt x="181" y="165"/>
                </a:lnTo>
                <a:lnTo>
                  <a:pt x="187" y="160"/>
                </a:lnTo>
                <a:lnTo>
                  <a:pt x="193" y="156"/>
                </a:lnTo>
                <a:lnTo>
                  <a:pt x="199" y="152"/>
                </a:lnTo>
                <a:lnTo>
                  <a:pt x="206" y="148"/>
                </a:lnTo>
                <a:lnTo>
                  <a:pt x="213" y="146"/>
                </a:lnTo>
                <a:lnTo>
                  <a:pt x="221" y="144"/>
                </a:lnTo>
                <a:lnTo>
                  <a:pt x="228" y="143"/>
                </a:lnTo>
                <a:lnTo>
                  <a:pt x="236" y="142"/>
                </a:lnTo>
                <a:close/>
                <a:moveTo>
                  <a:pt x="1285" y="442"/>
                </a:moveTo>
                <a:lnTo>
                  <a:pt x="1304" y="441"/>
                </a:lnTo>
                <a:lnTo>
                  <a:pt x="1321" y="439"/>
                </a:lnTo>
                <a:lnTo>
                  <a:pt x="1338" y="436"/>
                </a:lnTo>
                <a:lnTo>
                  <a:pt x="1354" y="430"/>
                </a:lnTo>
                <a:lnTo>
                  <a:pt x="1370" y="424"/>
                </a:lnTo>
                <a:lnTo>
                  <a:pt x="1386" y="417"/>
                </a:lnTo>
                <a:lnTo>
                  <a:pt x="1401" y="408"/>
                </a:lnTo>
                <a:lnTo>
                  <a:pt x="1415" y="399"/>
                </a:lnTo>
                <a:lnTo>
                  <a:pt x="1428" y="389"/>
                </a:lnTo>
                <a:lnTo>
                  <a:pt x="1440" y="378"/>
                </a:lnTo>
                <a:lnTo>
                  <a:pt x="1452" y="365"/>
                </a:lnTo>
                <a:lnTo>
                  <a:pt x="1463" y="352"/>
                </a:lnTo>
                <a:lnTo>
                  <a:pt x="1472" y="338"/>
                </a:lnTo>
                <a:lnTo>
                  <a:pt x="1481" y="323"/>
                </a:lnTo>
                <a:lnTo>
                  <a:pt x="1488" y="308"/>
                </a:lnTo>
                <a:lnTo>
                  <a:pt x="1494" y="292"/>
                </a:lnTo>
                <a:lnTo>
                  <a:pt x="1600" y="292"/>
                </a:lnTo>
                <a:lnTo>
                  <a:pt x="1604" y="303"/>
                </a:lnTo>
                <a:lnTo>
                  <a:pt x="1609" y="314"/>
                </a:lnTo>
                <a:lnTo>
                  <a:pt x="1614" y="324"/>
                </a:lnTo>
                <a:lnTo>
                  <a:pt x="1620" y="334"/>
                </a:lnTo>
                <a:lnTo>
                  <a:pt x="1626" y="344"/>
                </a:lnTo>
                <a:lnTo>
                  <a:pt x="1633" y="354"/>
                </a:lnTo>
                <a:lnTo>
                  <a:pt x="1641" y="363"/>
                </a:lnTo>
                <a:lnTo>
                  <a:pt x="1649" y="372"/>
                </a:lnTo>
                <a:lnTo>
                  <a:pt x="1657" y="380"/>
                </a:lnTo>
                <a:lnTo>
                  <a:pt x="1666" y="388"/>
                </a:lnTo>
                <a:lnTo>
                  <a:pt x="1675" y="395"/>
                </a:lnTo>
                <a:lnTo>
                  <a:pt x="1684" y="402"/>
                </a:lnTo>
                <a:lnTo>
                  <a:pt x="1694" y="409"/>
                </a:lnTo>
                <a:lnTo>
                  <a:pt x="1704" y="414"/>
                </a:lnTo>
                <a:lnTo>
                  <a:pt x="1714" y="420"/>
                </a:lnTo>
                <a:lnTo>
                  <a:pt x="1726" y="424"/>
                </a:lnTo>
                <a:lnTo>
                  <a:pt x="1726" y="907"/>
                </a:lnTo>
                <a:lnTo>
                  <a:pt x="1451" y="1181"/>
                </a:lnTo>
                <a:lnTo>
                  <a:pt x="850" y="1181"/>
                </a:lnTo>
                <a:lnTo>
                  <a:pt x="850" y="1058"/>
                </a:lnTo>
                <a:lnTo>
                  <a:pt x="867" y="1052"/>
                </a:lnTo>
                <a:lnTo>
                  <a:pt x="882" y="1045"/>
                </a:lnTo>
                <a:lnTo>
                  <a:pt x="897" y="1037"/>
                </a:lnTo>
                <a:lnTo>
                  <a:pt x="911" y="1026"/>
                </a:lnTo>
                <a:lnTo>
                  <a:pt x="924" y="1016"/>
                </a:lnTo>
                <a:lnTo>
                  <a:pt x="937" y="1005"/>
                </a:lnTo>
                <a:lnTo>
                  <a:pt x="949" y="992"/>
                </a:lnTo>
                <a:lnTo>
                  <a:pt x="959" y="979"/>
                </a:lnTo>
                <a:lnTo>
                  <a:pt x="969" y="965"/>
                </a:lnTo>
                <a:lnTo>
                  <a:pt x="977" y="951"/>
                </a:lnTo>
                <a:lnTo>
                  <a:pt x="984" y="934"/>
                </a:lnTo>
                <a:lnTo>
                  <a:pt x="990" y="918"/>
                </a:lnTo>
                <a:lnTo>
                  <a:pt x="995" y="902"/>
                </a:lnTo>
                <a:lnTo>
                  <a:pt x="999" y="885"/>
                </a:lnTo>
                <a:lnTo>
                  <a:pt x="1001" y="867"/>
                </a:lnTo>
                <a:lnTo>
                  <a:pt x="1002" y="848"/>
                </a:lnTo>
                <a:lnTo>
                  <a:pt x="1001" y="837"/>
                </a:lnTo>
                <a:lnTo>
                  <a:pt x="1000" y="826"/>
                </a:lnTo>
                <a:lnTo>
                  <a:pt x="999" y="815"/>
                </a:lnTo>
                <a:lnTo>
                  <a:pt x="997" y="805"/>
                </a:lnTo>
                <a:lnTo>
                  <a:pt x="995" y="794"/>
                </a:lnTo>
                <a:lnTo>
                  <a:pt x="992" y="784"/>
                </a:lnTo>
                <a:lnTo>
                  <a:pt x="988" y="774"/>
                </a:lnTo>
                <a:lnTo>
                  <a:pt x="984" y="763"/>
                </a:lnTo>
                <a:lnTo>
                  <a:pt x="980" y="753"/>
                </a:lnTo>
                <a:lnTo>
                  <a:pt x="975" y="744"/>
                </a:lnTo>
                <a:lnTo>
                  <a:pt x="970" y="735"/>
                </a:lnTo>
                <a:lnTo>
                  <a:pt x="964" y="726"/>
                </a:lnTo>
                <a:lnTo>
                  <a:pt x="952" y="709"/>
                </a:lnTo>
                <a:lnTo>
                  <a:pt x="937" y="693"/>
                </a:lnTo>
                <a:lnTo>
                  <a:pt x="921" y="678"/>
                </a:lnTo>
                <a:lnTo>
                  <a:pt x="904" y="666"/>
                </a:lnTo>
                <a:lnTo>
                  <a:pt x="896" y="660"/>
                </a:lnTo>
                <a:lnTo>
                  <a:pt x="886" y="655"/>
                </a:lnTo>
                <a:lnTo>
                  <a:pt x="877" y="650"/>
                </a:lnTo>
                <a:lnTo>
                  <a:pt x="867" y="646"/>
                </a:lnTo>
                <a:lnTo>
                  <a:pt x="856" y="642"/>
                </a:lnTo>
                <a:lnTo>
                  <a:pt x="846" y="638"/>
                </a:lnTo>
                <a:lnTo>
                  <a:pt x="836" y="635"/>
                </a:lnTo>
                <a:lnTo>
                  <a:pt x="825" y="633"/>
                </a:lnTo>
                <a:lnTo>
                  <a:pt x="815" y="631"/>
                </a:lnTo>
                <a:lnTo>
                  <a:pt x="804" y="630"/>
                </a:lnTo>
                <a:lnTo>
                  <a:pt x="793" y="629"/>
                </a:lnTo>
                <a:lnTo>
                  <a:pt x="782" y="629"/>
                </a:lnTo>
                <a:lnTo>
                  <a:pt x="769" y="629"/>
                </a:lnTo>
                <a:lnTo>
                  <a:pt x="758" y="630"/>
                </a:lnTo>
                <a:lnTo>
                  <a:pt x="747" y="631"/>
                </a:lnTo>
                <a:lnTo>
                  <a:pt x="737" y="633"/>
                </a:lnTo>
                <a:lnTo>
                  <a:pt x="726" y="635"/>
                </a:lnTo>
                <a:lnTo>
                  <a:pt x="716" y="638"/>
                </a:lnTo>
                <a:lnTo>
                  <a:pt x="706" y="642"/>
                </a:lnTo>
                <a:lnTo>
                  <a:pt x="696" y="646"/>
                </a:lnTo>
                <a:lnTo>
                  <a:pt x="685" y="650"/>
                </a:lnTo>
                <a:lnTo>
                  <a:pt x="676" y="655"/>
                </a:lnTo>
                <a:lnTo>
                  <a:pt x="667" y="660"/>
                </a:lnTo>
                <a:lnTo>
                  <a:pt x="658" y="666"/>
                </a:lnTo>
                <a:lnTo>
                  <a:pt x="641" y="678"/>
                </a:lnTo>
                <a:lnTo>
                  <a:pt x="626" y="693"/>
                </a:lnTo>
                <a:lnTo>
                  <a:pt x="611" y="709"/>
                </a:lnTo>
                <a:lnTo>
                  <a:pt x="598" y="726"/>
                </a:lnTo>
                <a:lnTo>
                  <a:pt x="592" y="735"/>
                </a:lnTo>
                <a:lnTo>
                  <a:pt x="587" y="744"/>
                </a:lnTo>
                <a:lnTo>
                  <a:pt x="582" y="753"/>
                </a:lnTo>
                <a:lnTo>
                  <a:pt x="578" y="763"/>
                </a:lnTo>
                <a:lnTo>
                  <a:pt x="574" y="774"/>
                </a:lnTo>
                <a:lnTo>
                  <a:pt x="570" y="784"/>
                </a:lnTo>
                <a:lnTo>
                  <a:pt x="568" y="794"/>
                </a:lnTo>
                <a:lnTo>
                  <a:pt x="565" y="805"/>
                </a:lnTo>
                <a:lnTo>
                  <a:pt x="563" y="815"/>
                </a:lnTo>
                <a:lnTo>
                  <a:pt x="562" y="826"/>
                </a:lnTo>
                <a:lnTo>
                  <a:pt x="561" y="837"/>
                </a:lnTo>
                <a:lnTo>
                  <a:pt x="561" y="848"/>
                </a:lnTo>
                <a:lnTo>
                  <a:pt x="561" y="867"/>
                </a:lnTo>
                <a:lnTo>
                  <a:pt x="563" y="884"/>
                </a:lnTo>
                <a:lnTo>
                  <a:pt x="567" y="901"/>
                </a:lnTo>
                <a:lnTo>
                  <a:pt x="572" y="918"/>
                </a:lnTo>
                <a:lnTo>
                  <a:pt x="577" y="933"/>
                </a:lnTo>
                <a:lnTo>
                  <a:pt x="584" y="950"/>
                </a:lnTo>
                <a:lnTo>
                  <a:pt x="593" y="964"/>
                </a:lnTo>
                <a:lnTo>
                  <a:pt x="603" y="978"/>
                </a:lnTo>
                <a:lnTo>
                  <a:pt x="613" y="991"/>
                </a:lnTo>
                <a:lnTo>
                  <a:pt x="624" y="1003"/>
                </a:lnTo>
                <a:lnTo>
                  <a:pt x="636" y="1014"/>
                </a:lnTo>
                <a:lnTo>
                  <a:pt x="649" y="1025"/>
                </a:lnTo>
                <a:lnTo>
                  <a:pt x="663" y="1035"/>
                </a:lnTo>
                <a:lnTo>
                  <a:pt x="677" y="1044"/>
                </a:lnTo>
                <a:lnTo>
                  <a:pt x="693" y="1051"/>
                </a:lnTo>
                <a:lnTo>
                  <a:pt x="709" y="1057"/>
                </a:lnTo>
                <a:lnTo>
                  <a:pt x="709" y="1439"/>
                </a:lnTo>
                <a:lnTo>
                  <a:pt x="693" y="1446"/>
                </a:lnTo>
                <a:lnTo>
                  <a:pt x="677" y="1454"/>
                </a:lnTo>
                <a:lnTo>
                  <a:pt x="663" y="1462"/>
                </a:lnTo>
                <a:lnTo>
                  <a:pt x="649" y="1472"/>
                </a:lnTo>
                <a:lnTo>
                  <a:pt x="636" y="1482"/>
                </a:lnTo>
                <a:lnTo>
                  <a:pt x="624" y="1494"/>
                </a:lnTo>
                <a:lnTo>
                  <a:pt x="613" y="1506"/>
                </a:lnTo>
                <a:lnTo>
                  <a:pt x="603" y="1519"/>
                </a:lnTo>
                <a:lnTo>
                  <a:pt x="593" y="1533"/>
                </a:lnTo>
                <a:lnTo>
                  <a:pt x="584" y="1548"/>
                </a:lnTo>
                <a:lnTo>
                  <a:pt x="577" y="1563"/>
                </a:lnTo>
                <a:lnTo>
                  <a:pt x="572" y="1579"/>
                </a:lnTo>
                <a:lnTo>
                  <a:pt x="567" y="1595"/>
                </a:lnTo>
                <a:lnTo>
                  <a:pt x="563" y="1612"/>
                </a:lnTo>
                <a:lnTo>
                  <a:pt x="561" y="1631"/>
                </a:lnTo>
                <a:lnTo>
                  <a:pt x="561" y="1648"/>
                </a:lnTo>
                <a:lnTo>
                  <a:pt x="561" y="1659"/>
                </a:lnTo>
                <a:lnTo>
                  <a:pt x="562" y="1670"/>
                </a:lnTo>
                <a:lnTo>
                  <a:pt x="563" y="1681"/>
                </a:lnTo>
                <a:lnTo>
                  <a:pt x="565" y="1692"/>
                </a:lnTo>
                <a:lnTo>
                  <a:pt x="568" y="1703"/>
                </a:lnTo>
                <a:lnTo>
                  <a:pt x="570" y="1714"/>
                </a:lnTo>
                <a:lnTo>
                  <a:pt x="574" y="1724"/>
                </a:lnTo>
                <a:lnTo>
                  <a:pt x="578" y="1734"/>
                </a:lnTo>
                <a:lnTo>
                  <a:pt x="582" y="1744"/>
                </a:lnTo>
                <a:lnTo>
                  <a:pt x="587" y="1753"/>
                </a:lnTo>
                <a:lnTo>
                  <a:pt x="592" y="1762"/>
                </a:lnTo>
                <a:lnTo>
                  <a:pt x="598" y="1771"/>
                </a:lnTo>
                <a:lnTo>
                  <a:pt x="611" y="1788"/>
                </a:lnTo>
                <a:lnTo>
                  <a:pt x="626" y="1804"/>
                </a:lnTo>
                <a:lnTo>
                  <a:pt x="641" y="1818"/>
                </a:lnTo>
                <a:lnTo>
                  <a:pt x="658" y="1831"/>
                </a:lnTo>
                <a:lnTo>
                  <a:pt x="667" y="1837"/>
                </a:lnTo>
                <a:lnTo>
                  <a:pt x="676" y="1842"/>
                </a:lnTo>
                <a:lnTo>
                  <a:pt x="685" y="1847"/>
                </a:lnTo>
                <a:lnTo>
                  <a:pt x="696" y="1851"/>
                </a:lnTo>
                <a:lnTo>
                  <a:pt x="706" y="1855"/>
                </a:lnTo>
                <a:lnTo>
                  <a:pt x="716" y="1858"/>
                </a:lnTo>
                <a:lnTo>
                  <a:pt x="726" y="1861"/>
                </a:lnTo>
                <a:lnTo>
                  <a:pt x="737" y="1864"/>
                </a:lnTo>
                <a:lnTo>
                  <a:pt x="747" y="1866"/>
                </a:lnTo>
                <a:lnTo>
                  <a:pt x="758" y="1867"/>
                </a:lnTo>
                <a:lnTo>
                  <a:pt x="769" y="1868"/>
                </a:lnTo>
                <a:lnTo>
                  <a:pt x="782" y="1868"/>
                </a:lnTo>
                <a:lnTo>
                  <a:pt x="793" y="1868"/>
                </a:lnTo>
                <a:lnTo>
                  <a:pt x="804" y="1867"/>
                </a:lnTo>
                <a:lnTo>
                  <a:pt x="815" y="1866"/>
                </a:lnTo>
                <a:lnTo>
                  <a:pt x="825" y="1864"/>
                </a:lnTo>
                <a:lnTo>
                  <a:pt x="836" y="1861"/>
                </a:lnTo>
                <a:lnTo>
                  <a:pt x="846" y="1858"/>
                </a:lnTo>
                <a:lnTo>
                  <a:pt x="856" y="1855"/>
                </a:lnTo>
                <a:lnTo>
                  <a:pt x="867" y="1851"/>
                </a:lnTo>
                <a:lnTo>
                  <a:pt x="877" y="1847"/>
                </a:lnTo>
                <a:lnTo>
                  <a:pt x="886" y="1842"/>
                </a:lnTo>
                <a:lnTo>
                  <a:pt x="896" y="1837"/>
                </a:lnTo>
                <a:lnTo>
                  <a:pt x="904" y="1831"/>
                </a:lnTo>
                <a:lnTo>
                  <a:pt x="921" y="1818"/>
                </a:lnTo>
                <a:lnTo>
                  <a:pt x="937" y="1804"/>
                </a:lnTo>
                <a:lnTo>
                  <a:pt x="952" y="1788"/>
                </a:lnTo>
                <a:lnTo>
                  <a:pt x="964" y="1771"/>
                </a:lnTo>
                <a:lnTo>
                  <a:pt x="970" y="1762"/>
                </a:lnTo>
                <a:lnTo>
                  <a:pt x="975" y="1753"/>
                </a:lnTo>
                <a:lnTo>
                  <a:pt x="980" y="1744"/>
                </a:lnTo>
                <a:lnTo>
                  <a:pt x="984" y="1734"/>
                </a:lnTo>
                <a:lnTo>
                  <a:pt x="988" y="1724"/>
                </a:lnTo>
                <a:lnTo>
                  <a:pt x="992" y="1714"/>
                </a:lnTo>
                <a:lnTo>
                  <a:pt x="995" y="1703"/>
                </a:lnTo>
                <a:lnTo>
                  <a:pt x="997" y="1692"/>
                </a:lnTo>
                <a:lnTo>
                  <a:pt x="999" y="1681"/>
                </a:lnTo>
                <a:lnTo>
                  <a:pt x="1000" y="1670"/>
                </a:lnTo>
                <a:lnTo>
                  <a:pt x="1001" y="1659"/>
                </a:lnTo>
                <a:lnTo>
                  <a:pt x="1002" y="1648"/>
                </a:lnTo>
                <a:lnTo>
                  <a:pt x="1001" y="1630"/>
                </a:lnTo>
                <a:lnTo>
                  <a:pt x="999" y="1612"/>
                </a:lnTo>
                <a:lnTo>
                  <a:pt x="995" y="1595"/>
                </a:lnTo>
                <a:lnTo>
                  <a:pt x="990" y="1578"/>
                </a:lnTo>
                <a:lnTo>
                  <a:pt x="984" y="1562"/>
                </a:lnTo>
                <a:lnTo>
                  <a:pt x="977" y="1547"/>
                </a:lnTo>
                <a:lnTo>
                  <a:pt x="969" y="1531"/>
                </a:lnTo>
                <a:lnTo>
                  <a:pt x="959" y="1517"/>
                </a:lnTo>
                <a:lnTo>
                  <a:pt x="949" y="1504"/>
                </a:lnTo>
                <a:lnTo>
                  <a:pt x="937" y="1492"/>
                </a:lnTo>
                <a:lnTo>
                  <a:pt x="924" y="1481"/>
                </a:lnTo>
                <a:lnTo>
                  <a:pt x="911" y="1470"/>
                </a:lnTo>
                <a:lnTo>
                  <a:pt x="897" y="1461"/>
                </a:lnTo>
                <a:lnTo>
                  <a:pt x="882" y="1452"/>
                </a:lnTo>
                <a:lnTo>
                  <a:pt x="867" y="1444"/>
                </a:lnTo>
                <a:lnTo>
                  <a:pt x="850" y="1438"/>
                </a:lnTo>
                <a:lnTo>
                  <a:pt x="850" y="1323"/>
                </a:lnTo>
                <a:lnTo>
                  <a:pt x="1510" y="1323"/>
                </a:lnTo>
                <a:lnTo>
                  <a:pt x="1867" y="966"/>
                </a:lnTo>
                <a:lnTo>
                  <a:pt x="1867" y="434"/>
                </a:lnTo>
                <a:lnTo>
                  <a:pt x="1884" y="428"/>
                </a:lnTo>
                <a:lnTo>
                  <a:pt x="1901" y="421"/>
                </a:lnTo>
                <a:lnTo>
                  <a:pt x="1917" y="413"/>
                </a:lnTo>
                <a:lnTo>
                  <a:pt x="1932" y="404"/>
                </a:lnTo>
                <a:lnTo>
                  <a:pt x="1946" y="393"/>
                </a:lnTo>
                <a:lnTo>
                  <a:pt x="1959" y="382"/>
                </a:lnTo>
                <a:lnTo>
                  <a:pt x="1972" y="369"/>
                </a:lnTo>
                <a:lnTo>
                  <a:pt x="1984" y="356"/>
                </a:lnTo>
                <a:lnTo>
                  <a:pt x="1994" y="341"/>
                </a:lnTo>
                <a:lnTo>
                  <a:pt x="2003" y="326"/>
                </a:lnTo>
                <a:lnTo>
                  <a:pt x="2011" y="310"/>
                </a:lnTo>
                <a:lnTo>
                  <a:pt x="2017" y="293"/>
                </a:lnTo>
                <a:lnTo>
                  <a:pt x="2023" y="276"/>
                </a:lnTo>
                <a:lnTo>
                  <a:pt x="2026" y="258"/>
                </a:lnTo>
                <a:lnTo>
                  <a:pt x="2029" y="239"/>
                </a:lnTo>
                <a:lnTo>
                  <a:pt x="2030" y="221"/>
                </a:lnTo>
                <a:lnTo>
                  <a:pt x="2029" y="210"/>
                </a:lnTo>
                <a:lnTo>
                  <a:pt x="2028" y="199"/>
                </a:lnTo>
                <a:lnTo>
                  <a:pt x="2027" y="188"/>
                </a:lnTo>
                <a:lnTo>
                  <a:pt x="2025" y="177"/>
                </a:lnTo>
                <a:lnTo>
                  <a:pt x="2023" y="165"/>
                </a:lnTo>
                <a:lnTo>
                  <a:pt x="2020" y="155"/>
                </a:lnTo>
                <a:lnTo>
                  <a:pt x="2016" y="145"/>
                </a:lnTo>
                <a:lnTo>
                  <a:pt x="2012" y="135"/>
                </a:lnTo>
                <a:lnTo>
                  <a:pt x="2008" y="125"/>
                </a:lnTo>
                <a:lnTo>
                  <a:pt x="2003" y="116"/>
                </a:lnTo>
                <a:lnTo>
                  <a:pt x="1998" y="107"/>
                </a:lnTo>
                <a:lnTo>
                  <a:pt x="1992" y="98"/>
                </a:lnTo>
                <a:lnTo>
                  <a:pt x="1980" y="80"/>
                </a:lnTo>
                <a:lnTo>
                  <a:pt x="1965" y="65"/>
                </a:lnTo>
                <a:lnTo>
                  <a:pt x="1949" y="51"/>
                </a:lnTo>
                <a:lnTo>
                  <a:pt x="1932" y="38"/>
                </a:lnTo>
                <a:lnTo>
                  <a:pt x="1923" y="32"/>
                </a:lnTo>
                <a:lnTo>
                  <a:pt x="1914" y="27"/>
                </a:lnTo>
                <a:lnTo>
                  <a:pt x="1905" y="22"/>
                </a:lnTo>
                <a:lnTo>
                  <a:pt x="1895" y="18"/>
                </a:lnTo>
                <a:lnTo>
                  <a:pt x="1884" y="14"/>
                </a:lnTo>
                <a:lnTo>
                  <a:pt x="1874" y="11"/>
                </a:lnTo>
                <a:lnTo>
                  <a:pt x="1864" y="8"/>
                </a:lnTo>
                <a:lnTo>
                  <a:pt x="1853" y="4"/>
                </a:lnTo>
                <a:lnTo>
                  <a:pt x="1843" y="2"/>
                </a:lnTo>
                <a:lnTo>
                  <a:pt x="1832" y="1"/>
                </a:lnTo>
                <a:lnTo>
                  <a:pt x="1821" y="0"/>
                </a:lnTo>
                <a:lnTo>
                  <a:pt x="1810" y="0"/>
                </a:lnTo>
                <a:lnTo>
                  <a:pt x="1791" y="1"/>
                </a:lnTo>
                <a:lnTo>
                  <a:pt x="1773" y="3"/>
                </a:lnTo>
                <a:lnTo>
                  <a:pt x="1757" y="7"/>
                </a:lnTo>
                <a:lnTo>
                  <a:pt x="1740" y="12"/>
                </a:lnTo>
                <a:lnTo>
                  <a:pt x="1724" y="18"/>
                </a:lnTo>
                <a:lnTo>
                  <a:pt x="1708" y="25"/>
                </a:lnTo>
                <a:lnTo>
                  <a:pt x="1693" y="33"/>
                </a:lnTo>
                <a:lnTo>
                  <a:pt x="1680" y="43"/>
                </a:lnTo>
                <a:lnTo>
                  <a:pt x="1666" y="53"/>
                </a:lnTo>
                <a:lnTo>
                  <a:pt x="1654" y="64"/>
                </a:lnTo>
                <a:lnTo>
                  <a:pt x="1643" y="76"/>
                </a:lnTo>
                <a:lnTo>
                  <a:pt x="1631" y="89"/>
                </a:lnTo>
                <a:lnTo>
                  <a:pt x="1622" y="104"/>
                </a:lnTo>
                <a:lnTo>
                  <a:pt x="1614" y="119"/>
                </a:lnTo>
                <a:lnTo>
                  <a:pt x="1606" y="134"/>
                </a:lnTo>
                <a:lnTo>
                  <a:pt x="1600" y="150"/>
                </a:lnTo>
                <a:lnTo>
                  <a:pt x="1494" y="150"/>
                </a:lnTo>
                <a:lnTo>
                  <a:pt x="1488" y="134"/>
                </a:lnTo>
                <a:lnTo>
                  <a:pt x="1481" y="119"/>
                </a:lnTo>
                <a:lnTo>
                  <a:pt x="1472" y="104"/>
                </a:lnTo>
                <a:lnTo>
                  <a:pt x="1463" y="89"/>
                </a:lnTo>
                <a:lnTo>
                  <a:pt x="1452" y="76"/>
                </a:lnTo>
                <a:lnTo>
                  <a:pt x="1440" y="64"/>
                </a:lnTo>
                <a:lnTo>
                  <a:pt x="1428" y="53"/>
                </a:lnTo>
                <a:lnTo>
                  <a:pt x="1415" y="43"/>
                </a:lnTo>
                <a:lnTo>
                  <a:pt x="1401" y="33"/>
                </a:lnTo>
                <a:lnTo>
                  <a:pt x="1386" y="25"/>
                </a:lnTo>
                <a:lnTo>
                  <a:pt x="1370" y="18"/>
                </a:lnTo>
                <a:lnTo>
                  <a:pt x="1354" y="12"/>
                </a:lnTo>
                <a:lnTo>
                  <a:pt x="1338" y="7"/>
                </a:lnTo>
                <a:lnTo>
                  <a:pt x="1321" y="3"/>
                </a:lnTo>
                <a:lnTo>
                  <a:pt x="1304" y="1"/>
                </a:lnTo>
                <a:lnTo>
                  <a:pt x="1285" y="0"/>
                </a:lnTo>
                <a:lnTo>
                  <a:pt x="1274" y="0"/>
                </a:lnTo>
                <a:lnTo>
                  <a:pt x="1263" y="1"/>
                </a:lnTo>
                <a:lnTo>
                  <a:pt x="1252" y="2"/>
                </a:lnTo>
                <a:lnTo>
                  <a:pt x="1241" y="4"/>
                </a:lnTo>
                <a:lnTo>
                  <a:pt x="1230" y="8"/>
                </a:lnTo>
                <a:lnTo>
                  <a:pt x="1220" y="11"/>
                </a:lnTo>
                <a:lnTo>
                  <a:pt x="1210" y="14"/>
                </a:lnTo>
                <a:lnTo>
                  <a:pt x="1199" y="18"/>
                </a:lnTo>
                <a:lnTo>
                  <a:pt x="1189" y="22"/>
                </a:lnTo>
                <a:lnTo>
                  <a:pt x="1180" y="27"/>
                </a:lnTo>
                <a:lnTo>
                  <a:pt x="1171" y="32"/>
                </a:lnTo>
                <a:lnTo>
                  <a:pt x="1162" y="38"/>
                </a:lnTo>
                <a:lnTo>
                  <a:pt x="1145" y="51"/>
                </a:lnTo>
                <a:lnTo>
                  <a:pt x="1130" y="65"/>
                </a:lnTo>
                <a:lnTo>
                  <a:pt x="1115" y="80"/>
                </a:lnTo>
                <a:lnTo>
                  <a:pt x="1102" y="98"/>
                </a:lnTo>
                <a:lnTo>
                  <a:pt x="1096" y="107"/>
                </a:lnTo>
                <a:lnTo>
                  <a:pt x="1091" y="116"/>
                </a:lnTo>
                <a:lnTo>
                  <a:pt x="1086" y="125"/>
                </a:lnTo>
                <a:lnTo>
                  <a:pt x="1082" y="135"/>
                </a:lnTo>
                <a:lnTo>
                  <a:pt x="1078" y="145"/>
                </a:lnTo>
                <a:lnTo>
                  <a:pt x="1075" y="155"/>
                </a:lnTo>
                <a:lnTo>
                  <a:pt x="1072" y="165"/>
                </a:lnTo>
                <a:lnTo>
                  <a:pt x="1069" y="177"/>
                </a:lnTo>
                <a:lnTo>
                  <a:pt x="1067" y="188"/>
                </a:lnTo>
                <a:lnTo>
                  <a:pt x="1066" y="199"/>
                </a:lnTo>
                <a:lnTo>
                  <a:pt x="1065" y="210"/>
                </a:lnTo>
                <a:lnTo>
                  <a:pt x="1065" y="221"/>
                </a:lnTo>
                <a:lnTo>
                  <a:pt x="1065" y="232"/>
                </a:lnTo>
                <a:lnTo>
                  <a:pt x="1066" y="243"/>
                </a:lnTo>
                <a:lnTo>
                  <a:pt x="1067" y="254"/>
                </a:lnTo>
                <a:lnTo>
                  <a:pt x="1069" y="266"/>
                </a:lnTo>
                <a:lnTo>
                  <a:pt x="1072" y="276"/>
                </a:lnTo>
                <a:lnTo>
                  <a:pt x="1075" y="287"/>
                </a:lnTo>
                <a:lnTo>
                  <a:pt x="1078" y="297"/>
                </a:lnTo>
                <a:lnTo>
                  <a:pt x="1082" y="307"/>
                </a:lnTo>
                <a:lnTo>
                  <a:pt x="1086" y="316"/>
                </a:lnTo>
                <a:lnTo>
                  <a:pt x="1091" y="326"/>
                </a:lnTo>
                <a:lnTo>
                  <a:pt x="1096" y="335"/>
                </a:lnTo>
                <a:lnTo>
                  <a:pt x="1102" y="344"/>
                </a:lnTo>
                <a:lnTo>
                  <a:pt x="1115" y="361"/>
                </a:lnTo>
                <a:lnTo>
                  <a:pt x="1130" y="377"/>
                </a:lnTo>
                <a:lnTo>
                  <a:pt x="1145" y="391"/>
                </a:lnTo>
                <a:lnTo>
                  <a:pt x="1162" y="404"/>
                </a:lnTo>
                <a:lnTo>
                  <a:pt x="1171" y="409"/>
                </a:lnTo>
                <a:lnTo>
                  <a:pt x="1180" y="414"/>
                </a:lnTo>
                <a:lnTo>
                  <a:pt x="1189" y="419"/>
                </a:lnTo>
                <a:lnTo>
                  <a:pt x="1199" y="424"/>
                </a:lnTo>
                <a:lnTo>
                  <a:pt x="1210" y="428"/>
                </a:lnTo>
                <a:lnTo>
                  <a:pt x="1220" y="432"/>
                </a:lnTo>
                <a:lnTo>
                  <a:pt x="1230" y="435"/>
                </a:lnTo>
                <a:lnTo>
                  <a:pt x="1241" y="437"/>
                </a:lnTo>
                <a:lnTo>
                  <a:pt x="1252" y="439"/>
                </a:lnTo>
                <a:lnTo>
                  <a:pt x="1263" y="441"/>
                </a:lnTo>
                <a:lnTo>
                  <a:pt x="1274" y="442"/>
                </a:lnTo>
                <a:lnTo>
                  <a:pt x="1285" y="442"/>
                </a:lnTo>
                <a:close/>
                <a:moveTo>
                  <a:pt x="860" y="1648"/>
                </a:moveTo>
                <a:lnTo>
                  <a:pt x="860" y="1656"/>
                </a:lnTo>
                <a:lnTo>
                  <a:pt x="858" y="1664"/>
                </a:lnTo>
                <a:lnTo>
                  <a:pt x="856" y="1671"/>
                </a:lnTo>
                <a:lnTo>
                  <a:pt x="853" y="1678"/>
                </a:lnTo>
                <a:lnTo>
                  <a:pt x="850" y="1685"/>
                </a:lnTo>
                <a:lnTo>
                  <a:pt x="846" y="1692"/>
                </a:lnTo>
                <a:lnTo>
                  <a:pt x="841" y="1698"/>
                </a:lnTo>
                <a:lnTo>
                  <a:pt x="836" y="1703"/>
                </a:lnTo>
                <a:lnTo>
                  <a:pt x="831" y="1708"/>
                </a:lnTo>
                <a:lnTo>
                  <a:pt x="825" y="1713"/>
                </a:lnTo>
                <a:lnTo>
                  <a:pt x="819" y="1717"/>
                </a:lnTo>
                <a:lnTo>
                  <a:pt x="812" y="1721"/>
                </a:lnTo>
                <a:lnTo>
                  <a:pt x="805" y="1723"/>
                </a:lnTo>
                <a:lnTo>
                  <a:pt x="797" y="1725"/>
                </a:lnTo>
                <a:lnTo>
                  <a:pt x="790" y="1726"/>
                </a:lnTo>
                <a:lnTo>
                  <a:pt x="782" y="1727"/>
                </a:lnTo>
                <a:lnTo>
                  <a:pt x="774" y="1726"/>
                </a:lnTo>
                <a:lnTo>
                  <a:pt x="765" y="1725"/>
                </a:lnTo>
                <a:lnTo>
                  <a:pt x="758" y="1723"/>
                </a:lnTo>
                <a:lnTo>
                  <a:pt x="750" y="1721"/>
                </a:lnTo>
                <a:lnTo>
                  <a:pt x="744" y="1717"/>
                </a:lnTo>
                <a:lnTo>
                  <a:pt x="737" y="1713"/>
                </a:lnTo>
                <a:lnTo>
                  <a:pt x="731" y="1708"/>
                </a:lnTo>
                <a:lnTo>
                  <a:pt x="726" y="1703"/>
                </a:lnTo>
                <a:lnTo>
                  <a:pt x="721" y="1698"/>
                </a:lnTo>
                <a:lnTo>
                  <a:pt x="716" y="1692"/>
                </a:lnTo>
                <a:lnTo>
                  <a:pt x="712" y="1685"/>
                </a:lnTo>
                <a:lnTo>
                  <a:pt x="709" y="1678"/>
                </a:lnTo>
                <a:lnTo>
                  <a:pt x="707" y="1671"/>
                </a:lnTo>
                <a:lnTo>
                  <a:pt x="705" y="1664"/>
                </a:lnTo>
                <a:lnTo>
                  <a:pt x="703" y="1656"/>
                </a:lnTo>
                <a:lnTo>
                  <a:pt x="703" y="1648"/>
                </a:lnTo>
                <a:lnTo>
                  <a:pt x="703" y="1640"/>
                </a:lnTo>
                <a:lnTo>
                  <a:pt x="705" y="1633"/>
                </a:lnTo>
                <a:lnTo>
                  <a:pt x="707" y="1625"/>
                </a:lnTo>
                <a:lnTo>
                  <a:pt x="709" y="1617"/>
                </a:lnTo>
                <a:lnTo>
                  <a:pt x="712" y="1610"/>
                </a:lnTo>
                <a:lnTo>
                  <a:pt x="716" y="1604"/>
                </a:lnTo>
                <a:lnTo>
                  <a:pt x="721" y="1598"/>
                </a:lnTo>
                <a:lnTo>
                  <a:pt x="726" y="1592"/>
                </a:lnTo>
                <a:lnTo>
                  <a:pt x="731" y="1587"/>
                </a:lnTo>
                <a:lnTo>
                  <a:pt x="737" y="1583"/>
                </a:lnTo>
                <a:lnTo>
                  <a:pt x="744" y="1579"/>
                </a:lnTo>
                <a:lnTo>
                  <a:pt x="750" y="1576"/>
                </a:lnTo>
                <a:lnTo>
                  <a:pt x="758" y="1573"/>
                </a:lnTo>
                <a:lnTo>
                  <a:pt x="765" y="1571"/>
                </a:lnTo>
                <a:lnTo>
                  <a:pt x="774" y="1570"/>
                </a:lnTo>
                <a:lnTo>
                  <a:pt x="782" y="1570"/>
                </a:lnTo>
                <a:lnTo>
                  <a:pt x="790" y="1570"/>
                </a:lnTo>
                <a:lnTo>
                  <a:pt x="797" y="1571"/>
                </a:lnTo>
                <a:lnTo>
                  <a:pt x="805" y="1573"/>
                </a:lnTo>
                <a:lnTo>
                  <a:pt x="812" y="1576"/>
                </a:lnTo>
                <a:lnTo>
                  <a:pt x="819" y="1579"/>
                </a:lnTo>
                <a:lnTo>
                  <a:pt x="825" y="1583"/>
                </a:lnTo>
                <a:lnTo>
                  <a:pt x="831" y="1587"/>
                </a:lnTo>
                <a:lnTo>
                  <a:pt x="836" y="1592"/>
                </a:lnTo>
                <a:lnTo>
                  <a:pt x="841" y="1598"/>
                </a:lnTo>
                <a:lnTo>
                  <a:pt x="846" y="1604"/>
                </a:lnTo>
                <a:lnTo>
                  <a:pt x="850" y="1610"/>
                </a:lnTo>
                <a:lnTo>
                  <a:pt x="853" y="1617"/>
                </a:lnTo>
                <a:lnTo>
                  <a:pt x="856" y="1625"/>
                </a:lnTo>
                <a:lnTo>
                  <a:pt x="858" y="1633"/>
                </a:lnTo>
                <a:lnTo>
                  <a:pt x="860" y="1640"/>
                </a:lnTo>
                <a:lnTo>
                  <a:pt x="860" y="1648"/>
                </a:lnTo>
                <a:close/>
                <a:moveTo>
                  <a:pt x="782" y="927"/>
                </a:moveTo>
                <a:lnTo>
                  <a:pt x="774" y="927"/>
                </a:lnTo>
                <a:lnTo>
                  <a:pt x="765" y="925"/>
                </a:lnTo>
                <a:lnTo>
                  <a:pt x="758" y="924"/>
                </a:lnTo>
                <a:lnTo>
                  <a:pt x="750" y="921"/>
                </a:lnTo>
                <a:lnTo>
                  <a:pt x="744" y="918"/>
                </a:lnTo>
                <a:lnTo>
                  <a:pt x="737" y="914"/>
                </a:lnTo>
                <a:lnTo>
                  <a:pt x="731" y="909"/>
                </a:lnTo>
                <a:lnTo>
                  <a:pt x="726" y="904"/>
                </a:lnTo>
                <a:lnTo>
                  <a:pt x="721" y="899"/>
                </a:lnTo>
                <a:lnTo>
                  <a:pt x="716" y="893"/>
                </a:lnTo>
                <a:lnTo>
                  <a:pt x="712" y="886"/>
                </a:lnTo>
                <a:lnTo>
                  <a:pt x="709" y="880"/>
                </a:lnTo>
                <a:lnTo>
                  <a:pt x="707" y="873"/>
                </a:lnTo>
                <a:lnTo>
                  <a:pt x="705" y="865"/>
                </a:lnTo>
                <a:lnTo>
                  <a:pt x="703" y="856"/>
                </a:lnTo>
                <a:lnTo>
                  <a:pt x="703" y="848"/>
                </a:lnTo>
                <a:lnTo>
                  <a:pt x="703" y="841"/>
                </a:lnTo>
                <a:lnTo>
                  <a:pt x="705" y="833"/>
                </a:lnTo>
                <a:lnTo>
                  <a:pt x="707" y="825"/>
                </a:lnTo>
                <a:lnTo>
                  <a:pt x="709" y="818"/>
                </a:lnTo>
                <a:lnTo>
                  <a:pt x="712" y="812"/>
                </a:lnTo>
                <a:lnTo>
                  <a:pt x="716" y="805"/>
                </a:lnTo>
                <a:lnTo>
                  <a:pt x="721" y="799"/>
                </a:lnTo>
                <a:lnTo>
                  <a:pt x="726" y="794"/>
                </a:lnTo>
                <a:lnTo>
                  <a:pt x="731" y="789"/>
                </a:lnTo>
                <a:lnTo>
                  <a:pt x="737" y="784"/>
                </a:lnTo>
                <a:lnTo>
                  <a:pt x="744" y="780"/>
                </a:lnTo>
                <a:lnTo>
                  <a:pt x="750" y="777"/>
                </a:lnTo>
                <a:lnTo>
                  <a:pt x="758" y="774"/>
                </a:lnTo>
                <a:lnTo>
                  <a:pt x="765" y="772"/>
                </a:lnTo>
                <a:lnTo>
                  <a:pt x="774" y="770"/>
                </a:lnTo>
                <a:lnTo>
                  <a:pt x="782" y="770"/>
                </a:lnTo>
                <a:lnTo>
                  <a:pt x="790" y="770"/>
                </a:lnTo>
                <a:lnTo>
                  <a:pt x="797" y="772"/>
                </a:lnTo>
                <a:lnTo>
                  <a:pt x="805" y="774"/>
                </a:lnTo>
                <a:lnTo>
                  <a:pt x="812" y="777"/>
                </a:lnTo>
                <a:lnTo>
                  <a:pt x="819" y="780"/>
                </a:lnTo>
                <a:lnTo>
                  <a:pt x="825" y="784"/>
                </a:lnTo>
                <a:lnTo>
                  <a:pt x="831" y="789"/>
                </a:lnTo>
                <a:lnTo>
                  <a:pt x="836" y="794"/>
                </a:lnTo>
                <a:lnTo>
                  <a:pt x="841" y="799"/>
                </a:lnTo>
                <a:lnTo>
                  <a:pt x="846" y="805"/>
                </a:lnTo>
                <a:lnTo>
                  <a:pt x="850" y="812"/>
                </a:lnTo>
                <a:lnTo>
                  <a:pt x="853" y="818"/>
                </a:lnTo>
                <a:lnTo>
                  <a:pt x="856" y="825"/>
                </a:lnTo>
                <a:lnTo>
                  <a:pt x="858" y="833"/>
                </a:lnTo>
                <a:lnTo>
                  <a:pt x="860" y="841"/>
                </a:lnTo>
                <a:lnTo>
                  <a:pt x="860" y="848"/>
                </a:lnTo>
                <a:lnTo>
                  <a:pt x="860" y="856"/>
                </a:lnTo>
                <a:lnTo>
                  <a:pt x="858" y="865"/>
                </a:lnTo>
                <a:lnTo>
                  <a:pt x="856" y="873"/>
                </a:lnTo>
                <a:lnTo>
                  <a:pt x="853" y="880"/>
                </a:lnTo>
                <a:lnTo>
                  <a:pt x="850" y="886"/>
                </a:lnTo>
                <a:lnTo>
                  <a:pt x="846" y="893"/>
                </a:lnTo>
                <a:lnTo>
                  <a:pt x="841" y="899"/>
                </a:lnTo>
                <a:lnTo>
                  <a:pt x="836" y="904"/>
                </a:lnTo>
                <a:lnTo>
                  <a:pt x="831" y="909"/>
                </a:lnTo>
                <a:lnTo>
                  <a:pt x="825" y="914"/>
                </a:lnTo>
                <a:lnTo>
                  <a:pt x="819" y="918"/>
                </a:lnTo>
                <a:lnTo>
                  <a:pt x="812" y="921"/>
                </a:lnTo>
                <a:lnTo>
                  <a:pt x="805" y="924"/>
                </a:lnTo>
                <a:lnTo>
                  <a:pt x="797" y="925"/>
                </a:lnTo>
                <a:lnTo>
                  <a:pt x="790" y="927"/>
                </a:lnTo>
                <a:lnTo>
                  <a:pt x="782" y="927"/>
                </a:lnTo>
                <a:close/>
                <a:moveTo>
                  <a:pt x="1810" y="142"/>
                </a:moveTo>
                <a:lnTo>
                  <a:pt x="1817" y="143"/>
                </a:lnTo>
                <a:lnTo>
                  <a:pt x="1825" y="144"/>
                </a:lnTo>
                <a:lnTo>
                  <a:pt x="1833" y="146"/>
                </a:lnTo>
                <a:lnTo>
                  <a:pt x="1840" y="148"/>
                </a:lnTo>
                <a:lnTo>
                  <a:pt x="1847" y="152"/>
                </a:lnTo>
                <a:lnTo>
                  <a:pt x="1853" y="156"/>
                </a:lnTo>
                <a:lnTo>
                  <a:pt x="1859" y="160"/>
                </a:lnTo>
                <a:lnTo>
                  <a:pt x="1864" y="165"/>
                </a:lnTo>
                <a:lnTo>
                  <a:pt x="1869" y="171"/>
                </a:lnTo>
                <a:lnTo>
                  <a:pt x="1874" y="177"/>
                </a:lnTo>
                <a:lnTo>
                  <a:pt x="1878" y="184"/>
                </a:lnTo>
                <a:lnTo>
                  <a:pt x="1881" y="191"/>
                </a:lnTo>
                <a:lnTo>
                  <a:pt x="1884" y="198"/>
                </a:lnTo>
                <a:lnTo>
                  <a:pt x="1886" y="205"/>
                </a:lnTo>
                <a:lnTo>
                  <a:pt x="1887" y="213"/>
                </a:lnTo>
                <a:lnTo>
                  <a:pt x="1887" y="221"/>
                </a:lnTo>
                <a:lnTo>
                  <a:pt x="1887" y="229"/>
                </a:lnTo>
                <a:lnTo>
                  <a:pt x="1886" y="236"/>
                </a:lnTo>
                <a:lnTo>
                  <a:pt x="1884" y="244"/>
                </a:lnTo>
                <a:lnTo>
                  <a:pt x="1881" y="251"/>
                </a:lnTo>
                <a:lnTo>
                  <a:pt x="1878" y="258"/>
                </a:lnTo>
                <a:lnTo>
                  <a:pt x="1874" y="265"/>
                </a:lnTo>
                <a:lnTo>
                  <a:pt x="1869" y="271"/>
                </a:lnTo>
                <a:lnTo>
                  <a:pt x="1864" y="277"/>
                </a:lnTo>
                <a:lnTo>
                  <a:pt x="1859" y="282"/>
                </a:lnTo>
                <a:lnTo>
                  <a:pt x="1853" y="286"/>
                </a:lnTo>
                <a:lnTo>
                  <a:pt x="1847" y="290"/>
                </a:lnTo>
                <a:lnTo>
                  <a:pt x="1840" y="293"/>
                </a:lnTo>
                <a:lnTo>
                  <a:pt x="1833" y="296"/>
                </a:lnTo>
                <a:lnTo>
                  <a:pt x="1825" y="298"/>
                </a:lnTo>
                <a:lnTo>
                  <a:pt x="1817" y="299"/>
                </a:lnTo>
                <a:lnTo>
                  <a:pt x="1810" y="299"/>
                </a:lnTo>
                <a:lnTo>
                  <a:pt x="1801" y="299"/>
                </a:lnTo>
                <a:lnTo>
                  <a:pt x="1793" y="298"/>
                </a:lnTo>
                <a:lnTo>
                  <a:pt x="1786" y="296"/>
                </a:lnTo>
                <a:lnTo>
                  <a:pt x="1778" y="293"/>
                </a:lnTo>
                <a:lnTo>
                  <a:pt x="1772" y="290"/>
                </a:lnTo>
                <a:lnTo>
                  <a:pt x="1765" y="286"/>
                </a:lnTo>
                <a:lnTo>
                  <a:pt x="1759" y="282"/>
                </a:lnTo>
                <a:lnTo>
                  <a:pt x="1754" y="277"/>
                </a:lnTo>
                <a:lnTo>
                  <a:pt x="1749" y="271"/>
                </a:lnTo>
                <a:lnTo>
                  <a:pt x="1744" y="265"/>
                </a:lnTo>
                <a:lnTo>
                  <a:pt x="1740" y="258"/>
                </a:lnTo>
                <a:lnTo>
                  <a:pt x="1737" y="251"/>
                </a:lnTo>
                <a:lnTo>
                  <a:pt x="1734" y="244"/>
                </a:lnTo>
                <a:lnTo>
                  <a:pt x="1733" y="236"/>
                </a:lnTo>
                <a:lnTo>
                  <a:pt x="1731" y="229"/>
                </a:lnTo>
                <a:lnTo>
                  <a:pt x="1731" y="221"/>
                </a:lnTo>
                <a:lnTo>
                  <a:pt x="1731" y="213"/>
                </a:lnTo>
                <a:lnTo>
                  <a:pt x="1733" y="205"/>
                </a:lnTo>
                <a:lnTo>
                  <a:pt x="1734" y="198"/>
                </a:lnTo>
                <a:lnTo>
                  <a:pt x="1737" y="191"/>
                </a:lnTo>
                <a:lnTo>
                  <a:pt x="1740" y="184"/>
                </a:lnTo>
                <a:lnTo>
                  <a:pt x="1744" y="177"/>
                </a:lnTo>
                <a:lnTo>
                  <a:pt x="1749" y="171"/>
                </a:lnTo>
                <a:lnTo>
                  <a:pt x="1754" y="165"/>
                </a:lnTo>
                <a:lnTo>
                  <a:pt x="1759" y="160"/>
                </a:lnTo>
                <a:lnTo>
                  <a:pt x="1765" y="156"/>
                </a:lnTo>
                <a:lnTo>
                  <a:pt x="1772" y="152"/>
                </a:lnTo>
                <a:lnTo>
                  <a:pt x="1778" y="148"/>
                </a:lnTo>
                <a:lnTo>
                  <a:pt x="1786" y="146"/>
                </a:lnTo>
                <a:lnTo>
                  <a:pt x="1793" y="144"/>
                </a:lnTo>
                <a:lnTo>
                  <a:pt x="1801" y="143"/>
                </a:lnTo>
                <a:lnTo>
                  <a:pt x="1810" y="142"/>
                </a:lnTo>
                <a:close/>
                <a:moveTo>
                  <a:pt x="1285" y="142"/>
                </a:moveTo>
                <a:lnTo>
                  <a:pt x="1294" y="143"/>
                </a:lnTo>
                <a:lnTo>
                  <a:pt x="1301" y="144"/>
                </a:lnTo>
                <a:lnTo>
                  <a:pt x="1309" y="146"/>
                </a:lnTo>
                <a:lnTo>
                  <a:pt x="1316" y="148"/>
                </a:lnTo>
                <a:lnTo>
                  <a:pt x="1323" y="152"/>
                </a:lnTo>
                <a:lnTo>
                  <a:pt x="1329" y="156"/>
                </a:lnTo>
                <a:lnTo>
                  <a:pt x="1335" y="160"/>
                </a:lnTo>
                <a:lnTo>
                  <a:pt x="1341" y="165"/>
                </a:lnTo>
                <a:lnTo>
                  <a:pt x="1346" y="171"/>
                </a:lnTo>
                <a:lnTo>
                  <a:pt x="1350" y="177"/>
                </a:lnTo>
                <a:lnTo>
                  <a:pt x="1354" y="184"/>
                </a:lnTo>
                <a:lnTo>
                  <a:pt x="1357" y="191"/>
                </a:lnTo>
                <a:lnTo>
                  <a:pt x="1360" y="198"/>
                </a:lnTo>
                <a:lnTo>
                  <a:pt x="1362" y="205"/>
                </a:lnTo>
                <a:lnTo>
                  <a:pt x="1363" y="213"/>
                </a:lnTo>
                <a:lnTo>
                  <a:pt x="1363" y="221"/>
                </a:lnTo>
                <a:lnTo>
                  <a:pt x="1363" y="229"/>
                </a:lnTo>
                <a:lnTo>
                  <a:pt x="1362" y="236"/>
                </a:lnTo>
                <a:lnTo>
                  <a:pt x="1360" y="244"/>
                </a:lnTo>
                <a:lnTo>
                  <a:pt x="1357" y="251"/>
                </a:lnTo>
                <a:lnTo>
                  <a:pt x="1354" y="258"/>
                </a:lnTo>
                <a:lnTo>
                  <a:pt x="1350" y="265"/>
                </a:lnTo>
                <a:lnTo>
                  <a:pt x="1346" y="271"/>
                </a:lnTo>
                <a:lnTo>
                  <a:pt x="1341" y="277"/>
                </a:lnTo>
                <a:lnTo>
                  <a:pt x="1335" y="282"/>
                </a:lnTo>
                <a:lnTo>
                  <a:pt x="1329" y="286"/>
                </a:lnTo>
                <a:lnTo>
                  <a:pt x="1323" y="290"/>
                </a:lnTo>
                <a:lnTo>
                  <a:pt x="1316" y="293"/>
                </a:lnTo>
                <a:lnTo>
                  <a:pt x="1309" y="296"/>
                </a:lnTo>
                <a:lnTo>
                  <a:pt x="1301" y="298"/>
                </a:lnTo>
                <a:lnTo>
                  <a:pt x="1294" y="299"/>
                </a:lnTo>
                <a:lnTo>
                  <a:pt x="1285" y="299"/>
                </a:lnTo>
                <a:lnTo>
                  <a:pt x="1277" y="299"/>
                </a:lnTo>
                <a:lnTo>
                  <a:pt x="1269" y="298"/>
                </a:lnTo>
                <a:lnTo>
                  <a:pt x="1262" y="296"/>
                </a:lnTo>
                <a:lnTo>
                  <a:pt x="1255" y="293"/>
                </a:lnTo>
                <a:lnTo>
                  <a:pt x="1248" y="290"/>
                </a:lnTo>
                <a:lnTo>
                  <a:pt x="1241" y="286"/>
                </a:lnTo>
                <a:lnTo>
                  <a:pt x="1235" y="282"/>
                </a:lnTo>
                <a:lnTo>
                  <a:pt x="1230" y="277"/>
                </a:lnTo>
                <a:lnTo>
                  <a:pt x="1225" y="271"/>
                </a:lnTo>
                <a:lnTo>
                  <a:pt x="1220" y="265"/>
                </a:lnTo>
                <a:lnTo>
                  <a:pt x="1217" y="258"/>
                </a:lnTo>
                <a:lnTo>
                  <a:pt x="1213" y="251"/>
                </a:lnTo>
                <a:lnTo>
                  <a:pt x="1211" y="244"/>
                </a:lnTo>
                <a:lnTo>
                  <a:pt x="1209" y="236"/>
                </a:lnTo>
                <a:lnTo>
                  <a:pt x="1208" y="229"/>
                </a:lnTo>
                <a:lnTo>
                  <a:pt x="1207" y="221"/>
                </a:lnTo>
                <a:lnTo>
                  <a:pt x="1208" y="213"/>
                </a:lnTo>
                <a:lnTo>
                  <a:pt x="1209" y="205"/>
                </a:lnTo>
                <a:lnTo>
                  <a:pt x="1211" y="198"/>
                </a:lnTo>
                <a:lnTo>
                  <a:pt x="1213" y="191"/>
                </a:lnTo>
                <a:lnTo>
                  <a:pt x="1217" y="184"/>
                </a:lnTo>
                <a:lnTo>
                  <a:pt x="1220" y="177"/>
                </a:lnTo>
                <a:lnTo>
                  <a:pt x="1225" y="171"/>
                </a:lnTo>
                <a:lnTo>
                  <a:pt x="1230" y="165"/>
                </a:lnTo>
                <a:lnTo>
                  <a:pt x="1235" y="160"/>
                </a:lnTo>
                <a:lnTo>
                  <a:pt x="1241" y="156"/>
                </a:lnTo>
                <a:lnTo>
                  <a:pt x="1248" y="152"/>
                </a:lnTo>
                <a:lnTo>
                  <a:pt x="1255" y="148"/>
                </a:lnTo>
                <a:lnTo>
                  <a:pt x="1262" y="146"/>
                </a:lnTo>
                <a:lnTo>
                  <a:pt x="1269" y="144"/>
                </a:lnTo>
                <a:lnTo>
                  <a:pt x="1277" y="143"/>
                </a:lnTo>
                <a:lnTo>
                  <a:pt x="1285" y="142"/>
                </a:lnTo>
                <a:close/>
                <a:moveTo>
                  <a:pt x="1864" y="1997"/>
                </a:moveTo>
                <a:lnTo>
                  <a:pt x="1864" y="1859"/>
                </a:lnTo>
                <a:lnTo>
                  <a:pt x="1881" y="1853"/>
                </a:lnTo>
                <a:lnTo>
                  <a:pt x="1898" y="1846"/>
                </a:lnTo>
                <a:lnTo>
                  <a:pt x="1913" y="1838"/>
                </a:lnTo>
                <a:lnTo>
                  <a:pt x="1927" y="1829"/>
                </a:lnTo>
                <a:lnTo>
                  <a:pt x="1941" y="1819"/>
                </a:lnTo>
                <a:lnTo>
                  <a:pt x="1954" y="1807"/>
                </a:lnTo>
                <a:lnTo>
                  <a:pt x="1966" y="1795"/>
                </a:lnTo>
                <a:lnTo>
                  <a:pt x="1977" y="1781"/>
                </a:lnTo>
                <a:lnTo>
                  <a:pt x="1988" y="1766"/>
                </a:lnTo>
                <a:lnTo>
                  <a:pt x="1996" y="1752"/>
                </a:lnTo>
                <a:lnTo>
                  <a:pt x="2004" y="1736"/>
                </a:lnTo>
                <a:lnTo>
                  <a:pt x="2010" y="1720"/>
                </a:lnTo>
                <a:lnTo>
                  <a:pt x="2015" y="1702"/>
                </a:lnTo>
                <a:lnTo>
                  <a:pt x="2019" y="1684"/>
                </a:lnTo>
                <a:lnTo>
                  <a:pt x="2021" y="1666"/>
                </a:lnTo>
                <a:lnTo>
                  <a:pt x="2022" y="1648"/>
                </a:lnTo>
                <a:lnTo>
                  <a:pt x="2022" y="1637"/>
                </a:lnTo>
                <a:lnTo>
                  <a:pt x="2021" y="1626"/>
                </a:lnTo>
                <a:lnTo>
                  <a:pt x="2020" y="1614"/>
                </a:lnTo>
                <a:lnTo>
                  <a:pt x="2018" y="1603"/>
                </a:lnTo>
                <a:lnTo>
                  <a:pt x="2015" y="1593"/>
                </a:lnTo>
                <a:lnTo>
                  <a:pt x="2012" y="1582"/>
                </a:lnTo>
                <a:lnTo>
                  <a:pt x="2009" y="1572"/>
                </a:lnTo>
                <a:lnTo>
                  <a:pt x="2005" y="1562"/>
                </a:lnTo>
                <a:lnTo>
                  <a:pt x="2000" y="1553"/>
                </a:lnTo>
                <a:lnTo>
                  <a:pt x="1996" y="1543"/>
                </a:lnTo>
                <a:lnTo>
                  <a:pt x="1990" y="1533"/>
                </a:lnTo>
                <a:lnTo>
                  <a:pt x="1985" y="1524"/>
                </a:lnTo>
                <a:lnTo>
                  <a:pt x="1971" y="1508"/>
                </a:lnTo>
                <a:lnTo>
                  <a:pt x="1957" y="1492"/>
                </a:lnTo>
                <a:lnTo>
                  <a:pt x="1942" y="1478"/>
                </a:lnTo>
                <a:lnTo>
                  <a:pt x="1925" y="1465"/>
                </a:lnTo>
                <a:lnTo>
                  <a:pt x="1916" y="1460"/>
                </a:lnTo>
                <a:lnTo>
                  <a:pt x="1907" y="1455"/>
                </a:lnTo>
                <a:lnTo>
                  <a:pt x="1897" y="1449"/>
                </a:lnTo>
                <a:lnTo>
                  <a:pt x="1887" y="1444"/>
                </a:lnTo>
                <a:lnTo>
                  <a:pt x="1877" y="1440"/>
                </a:lnTo>
                <a:lnTo>
                  <a:pt x="1867" y="1437"/>
                </a:lnTo>
                <a:lnTo>
                  <a:pt x="1856" y="1434"/>
                </a:lnTo>
                <a:lnTo>
                  <a:pt x="1846" y="1432"/>
                </a:lnTo>
                <a:lnTo>
                  <a:pt x="1835" y="1430"/>
                </a:lnTo>
                <a:lnTo>
                  <a:pt x="1824" y="1428"/>
                </a:lnTo>
                <a:lnTo>
                  <a:pt x="1813" y="1427"/>
                </a:lnTo>
                <a:lnTo>
                  <a:pt x="1801" y="1427"/>
                </a:lnTo>
                <a:lnTo>
                  <a:pt x="1790" y="1427"/>
                </a:lnTo>
                <a:lnTo>
                  <a:pt x="1779" y="1428"/>
                </a:lnTo>
                <a:lnTo>
                  <a:pt x="1768" y="1430"/>
                </a:lnTo>
                <a:lnTo>
                  <a:pt x="1757" y="1432"/>
                </a:lnTo>
                <a:lnTo>
                  <a:pt x="1747" y="1434"/>
                </a:lnTo>
                <a:lnTo>
                  <a:pt x="1736" y="1437"/>
                </a:lnTo>
                <a:lnTo>
                  <a:pt x="1726" y="1440"/>
                </a:lnTo>
                <a:lnTo>
                  <a:pt x="1715" y="1444"/>
                </a:lnTo>
                <a:lnTo>
                  <a:pt x="1706" y="1449"/>
                </a:lnTo>
                <a:lnTo>
                  <a:pt x="1696" y="1455"/>
                </a:lnTo>
                <a:lnTo>
                  <a:pt x="1687" y="1460"/>
                </a:lnTo>
                <a:lnTo>
                  <a:pt x="1678" y="1465"/>
                </a:lnTo>
                <a:lnTo>
                  <a:pt x="1661" y="1478"/>
                </a:lnTo>
                <a:lnTo>
                  <a:pt x="1646" y="1492"/>
                </a:lnTo>
                <a:lnTo>
                  <a:pt x="1631" y="1508"/>
                </a:lnTo>
                <a:lnTo>
                  <a:pt x="1618" y="1524"/>
                </a:lnTo>
                <a:lnTo>
                  <a:pt x="1613" y="1533"/>
                </a:lnTo>
                <a:lnTo>
                  <a:pt x="1607" y="1543"/>
                </a:lnTo>
                <a:lnTo>
                  <a:pt x="1603" y="1553"/>
                </a:lnTo>
                <a:lnTo>
                  <a:pt x="1598" y="1562"/>
                </a:lnTo>
                <a:lnTo>
                  <a:pt x="1594" y="1572"/>
                </a:lnTo>
                <a:lnTo>
                  <a:pt x="1591" y="1582"/>
                </a:lnTo>
                <a:lnTo>
                  <a:pt x="1588" y="1593"/>
                </a:lnTo>
                <a:lnTo>
                  <a:pt x="1586" y="1603"/>
                </a:lnTo>
                <a:lnTo>
                  <a:pt x="1584" y="1614"/>
                </a:lnTo>
                <a:lnTo>
                  <a:pt x="1582" y="1626"/>
                </a:lnTo>
                <a:lnTo>
                  <a:pt x="1581" y="1637"/>
                </a:lnTo>
                <a:lnTo>
                  <a:pt x="1581" y="1648"/>
                </a:lnTo>
                <a:lnTo>
                  <a:pt x="1582" y="1665"/>
                </a:lnTo>
                <a:lnTo>
                  <a:pt x="1584" y="1682"/>
                </a:lnTo>
                <a:lnTo>
                  <a:pt x="1587" y="1699"/>
                </a:lnTo>
                <a:lnTo>
                  <a:pt x="1591" y="1716"/>
                </a:lnTo>
                <a:lnTo>
                  <a:pt x="1597" y="1731"/>
                </a:lnTo>
                <a:lnTo>
                  <a:pt x="1604" y="1746"/>
                </a:lnTo>
                <a:lnTo>
                  <a:pt x="1612" y="1760"/>
                </a:lnTo>
                <a:lnTo>
                  <a:pt x="1620" y="1774"/>
                </a:lnTo>
                <a:lnTo>
                  <a:pt x="1630" y="1787"/>
                </a:lnTo>
                <a:lnTo>
                  <a:pt x="1642" y="1800"/>
                </a:lnTo>
                <a:lnTo>
                  <a:pt x="1653" y="1811"/>
                </a:lnTo>
                <a:lnTo>
                  <a:pt x="1666" y="1822"/>
                </a:lnTo>
                <a:lnTo>
                  <a:pt x="1679" y="1831"/>
                </a:lnTo>
                <a:lnTo>
                  <a:pt x="1692" y="1840"/>
                </a:lnTo>
                <a:lnTo>
                  <a:pt x="1707" y="1847"/>
                </a:lnTo>
                <a:lnTo>
                  <a:pt x="1723" y="1854"/>
                </a:lnTo>
                <a:lnTo>
                  <a:pt x="1723" y="2014"/>
                </a:lnTo>
                <a:lnTo>
                  <a:pt x="1704" y="2023"/>
                </a:lnTo>
                <a:lnTo>
                  <a:pt x="1687" y="2035"/>
                </a:lnTo>
                <a:lnTo>
                  <a:pt x="1671" y="2048"/>
                </a:lnTo>
                <a:lnTo>
                  <a:pt x="1656" y="2063"/>
                </a:lnTo>
                <a:lnTo>
                  <a:pt x="1643" y="2079"/>
                </a:lnTo>
                <a:lnTo>
                  <a:pt x="1630" y="2096"/>
                </a:lnTo>
                <a:lnTo>
                  <a:pt x="1620" y="2114"/>
                </a:lnTo>
                <a:lnTo>
                  <a:pt x="1612" y="2133"/>
                </a:lnTo>
                <a:lnTo>
                  <a:pt x="1511" y="2133"/>
                </a:lnTo>
                <a:lnTo>
                  <a:pt x="1504" y="2118"/>
                </a:lnTo>
                <a:lnTo>
                  <a:pt x="1497" y="2103"/>
                </a:lnTo>
                <a:lnTo>
                  <a:pt x="1488" y="2090"/>
                </a:lnTo>
                <a:lnTo>
                  <a:pt x="1479" y="2076"/>
                </a:lnTo>
                <a:lnTo>
                  <a:pt x="1468" y="2064"/>
                </a:lnTo>
                <a:lnTo>
                  <a:pt x="1456" y="2053"/>
                </a:lnTo>
                <a:lnTo>
                  <a:pt x="1444" y="2041"/>
                </a:lnTo>
                <a:lnTo>
                  <a:pt x="1431" y="2031"/>
                </a:lnTo>
                <a:lnTo>
                  <a:pt x="1417" y="2022"/>
                </a:lnTo>
                <a:lnTo>
                  <a:pt x="1403" y="2015"/>
                </a:lnTo>
                <a:lnTo>
                  <a:pt x="1388" y="2008"/>
                </a:lnTo>
                <a:lnTo>
                  <a:pt x="1372" y="2002"/>
                </a:lnTo>
                <a:lnTo>
                  <a:pt x="1356" y="1998"/>
                </a:lnTo>
                <a:lnTo>
                  <a:pt x="1339" y="1995"/>
                </a:lnTo>
                <a:lnTo>
                  <a:pt x="1323" y="1993"/>
                </a:lnTo>
                <a:lnTo>
                  <a:pt x="1305" y="1992"/>
                </a:lnTo>
                <a:lnTo>
                  <a:pt x="1294" y="1992"/>
                </a:lnTo>
                <a:lnTo>
                  <a:pt x="1282" y="1993"/>
                </a:lnTo>
                <a:lnTo>
                  <a:pt x="1271" y="1995"/>
                </a:lnTo>
                <a:lnTo>
                  <a:pt x="1260" y="1996"/>
                </a:lnTo>
                <a:lnTo>
                  <a:pt x="1250" y="1999"/>
                </a:lnTo>
                <a:lnTo>
                  <a:pt x="1240" y="2002"/>
                </a:lnTo>
                <a:lnTo>
                  <a:pt x="1229" y="2005"/>
                </a:lnTo>
                <a:lnTo>
                  <a:pt x="1220" y="2009"/>
                </a:lnTo>
                <a:lnTo>
                  <a:pt x="1210" y="2014"/>
                </a:lnTo>
                <a:lnTo>
                  <a:pt x="1200" y="2018"/>
                </a:lnTo>
                <a:lnTo>
                  <a:pt x="1190" y="2024"/>
                </a:lnTo>
                <a:lnTo>
                  <a:pt x="1182" y="2029"/>
                </a:lnTo>
                <a:lnTo>
                  <a:pt x="1165" y="2042"/>
                </a:lnTo>
                <a:lnTo>
                  <a:pt x="1149" y="2057"/>
                </a:lnTo>
                <a:lnTo>
                  <a:pt x="1135" y="2072"/>
                </a:lnTo>
                <a:lnTo>
                  <a:pt x="1123" y="2089"/>
                </a:lnTo>
                <a:lnTo>
                  <a:pt x="1116" y="2098"/>
                </a:lnTo>
                <a:lnTo>
                  <a:pt x="1111" y="2107"/>
                </a:lnTo>
                <a:lnTo>
                  <a:pt x="1106" y="2117"/>
                </a:lnTo>
                <a:lnTo>
                  <a:pt x="1102" y="2126"/>
                </a:lnTo>
                <a:lnTo>
                  <a:pt x="1098" y="2137"/>
                </a:lnTo>
                <a:lnTo>
                  <a:pt x="1094" y="2147"/>
                </a:lnTo>
                <a:lnTo>
                  <a:pt x="1091" y="2158"/>
                </a:lnTo>
                <a:lnTo>
                  <a:pt x="1089" y="2168"/>
                </a:lnTo>
                <a:lnTo>
                  <a:pt x="1087" y="2179"/>
                </a:lnTo>
                <a:lnTo>
                  <a:pt x="1085" y="2190"/>
                </a:lnTo>
                <a:lnTo>
                  <a:pt x="1085" y="2201"/>
                </a:lnTo>
                <a:lnTo>
                  <a:pt x="1084" y="2212"/>
                </a:lnTo>
                <a:lnTo>
                  <a:pt x="1085" y="2224"/>
                </a:lnTo>
                <a:lnTo>
                  <a:pt x="1085" y="2235"/>
                </a:lnTo>
                <a:lnTo>
                  <a:pt x="1087" y="2246"/>
                </a:lnTo>
                <a:lnTo>
                  <a:pt x="1089" y="2257"/>
                </a:lnTo>
                <a:lnTo>
                  <a:pt x="1091" y="2267"/>
                </a:lnTo>
                <a:lnTo>
                  <a:pt x="1094" y="2278"/>
                </a:lnTo>
                <a:lnTo>
                  <a:pt x="1098" y="2288"/>
                </a:lnTo>
                <a:lnTo>
                  <a:pt x="1102" y="2298"/>
                </a:lnTo>
                <a:lnTo>
                  <a:pt x="1106" y="2308"/>
                </a:lnTo>
                <a:lnTo>
                  <a:pt x="1111" y="2318"/>
                </a:lnTo>
                <a:lnTo>
                  <a:pt x="1116" y="2327"/>
                </a:lnTo>
                <a:lnTo>
                  <a:pt x="1123" y="2336"/>
                </a:lnTo>
                <a:lnTo>
                  <a:pt x="1135" y="2353"/>
                </a:lnTo>
                <a:lnTo>
                  <a:pt x="1149" y="2368"/>
                </a:lnTo>
                <a:lnTo>
                  <a:pt x="1165" y="2382"/>
                </a:lnTo>
                <a:lnTo>
                  <a:pt x="1182" y="2396"/>
                </a:lnTo>
                <a:lnTo>
                  <a:pt x="1190" y="2401"/>
                </a:lnTo>
                <a:lnTo>
                  <a:pt x="1200" y="2407"/>
                </a:lnTo>
                <a:lnTo>
                  <a:pt x="1210" y="2411"/>
                </a:lnTo>
                <a:lnTo>
                  <a:pt x="1220" y="2416"/>
                </a:lnTo>
                <a:lnTo>
                  <a:pt x="1229" y="2420"/>
                </a:lnTo>
                <a:lnTo>
                  <a:pt x="1240" y="2423"/>
                </a:lnTo>
                <a:lnTo>
                  <a:pt x="1250" y="2426"/>
                </a:lnTo>
                <a:lnTo>
                  <a:pt x="1260" y="2429"/>
                </a:lnTo>
                <a:lnTo>
                  <a:pt x="1271" y="2430"/>
                </a:lnTo>
                <a:lnTo>
                  <a:pt x="1282" y="2432"/>
                </a:lnTo>
                <a:lnTo>
                  <a:pt x="1294" y="2433"/>
                </a:lnTo>
                <a:lnTo>
                  <a:pt x="1305" y="2433"/>
                </a:lnTo>
                <a:lnTo>
                  <a:pt x="1324" y="2432"/>
                </a:lnTo>
                <a:lnTo>
                  <a:pt x="1342" y="2430"/>
                </a:lnTo>
                <a:lnTo>
                  <a:pt x="1359" y="2426"/>
                </a:lnTo>
                <a:lnTo>
                  <a:pt x="1377" y="2421"/>
                </a:lnTo>
                <a:lnTo>
                  <a:pt x="1393" y="2415"/>
                </a:lnTo>
                <a:lnTo>
                  <a:pt x="1409" y="2407"/>
                </a:lnTo>
                <a:lnTo>
                  <a:pt x="1424" y="2399"/>
                </a:lnTo>
                <a:lnTo>
                  <a:pt x="1438" y="2388"/>
                </a:lnTo>
                <a:lnTo>
                  <a:pt x="1451" y="2377"/>
                </a:lnTo>
                <a:lnTo>
                  <a:pt x="1464" y="2365"/>
                </a:lnTo>
                <a:lnTo>
                  <a:pt x="1476" y="2352"/>
                </a:lnTo>
                <a:lnTo>
                  <a:pt x="1486" y="2338"/>
                </a:lnTo>
                <a:lnTo>
                  <a:pt x="1495" y="2324"/>
                </a:lnTo>
                <a:lnTo>
                  <a:pt x="1504" y="2309"/>
                </a:lnTo>
                <a:lnTo>
                  <a:pt x="1511" y="2292"/>
                </a:lnTo>
                <a:lnTo>
                  <a:pt x="1516" y="2275"/>
                </a:lnTo>
                <a:lnTo>
                  <a:pt x="1606" y="2275"/>
                </a:lnTo>
                <a:lnTo>
                  <a:pt x="1612" y="2292"/>
                </a:lnTo>
                <a:lnTo>
                  <a:pt x="1619" y="2309"/>
                </a:lnTo>
                <a:lnTo>
                  <a:pt x="1627" y="2324"/>
                </a:lnTo>
                <a:lnTo>
                  <a:pt x="1638" y="2338"/>
                </a:lnTo>
                <a:lnTo>
                  <a:pt x="1648" y="2352"/>
                </a:lnTo>
                <a:lnTo>
                  <a:pt x="1659" y="2365"/>
                </a:lnTo>
                <a:lnTo>
                  <a:pt x="1672" y="2377"/>
                </a:lnTo>
                <a:lnTo>
                  <a:pt x="1685" y="2388"/>
                </a:lnTo>
                <a:lnTo>
                  <a:pt x="1699" y="2399"/>
                </a:lnTo>
                <a:lnTo>
                  <a:pt x="1714" y="2407"/>
                </a:lnTo>
                <a:lnTo>
                  <a:pt x="1731" y="2415"/>
                </a:lnTo>
                <a:lnTo>
                  <a:pt x="1747" y="2421"/>
                </a:lnTo>
                <a:lnTo>
                  <a:pt x="1764" y="2426"/>
                </a:lnTo>
                <a:lnTo>
                  <a:pt x="1781" y="2430"/>
                </a:lnTo>
                <a:lnTo>
                  <a:pt x="1799" y="2432"/>
                </a:lnTo>
                <a:lnTo>
                  <a:pt x="1818" y="2433"/>
                </a:lnTo>
                <a:lnTo>
                  <a:pt x="1830" y="2433"/>
                </a:lnTo>
                <a:lnTo>
                  <a:pt x="1841" y="2432"/>
                </a:lnTo>
                <a:lnTo>
                  <a:pt x="1851" y="2430"/>
                </a:lnTo>
                <a:lnTo>
                  <a:pt x="1862" y="2429"/>
                </a:lnTo>
                <a:lnTo>
                  <a:pt x="1873" y="2426"/>
                </a:lnTo>
                <a:lnTo>
                  <a:pt x="1883" y="2423"/>
                </a:lnTo>
                <a:lnTo>
                  <a:pt x="1894" y="2420"/>
                </a:lnTo>
                <a:lnTo>
                  <a:pt x="1904" y="2416"/>
                </a:lnTo>
                <a:lnTo>
                  <a:pt x="1914" y="2411"/>
                </a:lnTo>
                <a:lnTo>
                  <a:pt x="1923" y="2407"/>
                </a:lnTo>
                <a:lnTo>
                  <a:pt x="1932" y="2401"/>
                </a:lnTo>
                <a:lnTo>
                  <a:pt x="1941" y="2396"/>
                </a:lnTo>
                <a:lnTo>
                  <a:pt x="1958" y="2382"/>
                </a:lnTo>
                <a:lnTo>
                  <a:pt x="1973" y="2368"/>
                </a:lnTo>
                <a:lnTo>
                  <a:pt x="1988" y="2353"/>
                </a:lnTo>
                <a:lnTo>
                  <a:pt x="2001" y="2336"/>
                </a:lnTo>
                <a:lnTo>
                  <a:pt x="2007" y="2327"/>
                </a:lnTo>
                <a:lnTo>
                  <a:pt x="2012" y="2318"/>
                </a:lnTo>
                <a:lnTo>
                  <a:pt x="2017" y="2308"/>
                </a:lnTo>
                <a:lnTo>
                  <a:pt x="2021" y="2298"/>
                </a:lnTo>
                <a:lnTo>
                  <a:pt x="2025" y="2288"/>
                </a:lnTo>
                <a:lnTo>
                  <a:pt x="2028" y="2278"/>
                </a:lnTo>
                <a:lnTo>
                  <a:pt x="2031" y="2267"/>
                </a:lnTo>
                <a:lnTo>
                  <a:pt x="2034" y="2257"/>
                </a:lnTo>
                <a:lnTo>
                  <a:pt x="2036" y="2246"/>
                </a:lnTo>
                <a:lnTo>
                  <a:pt x="2037" y="2235"/>
                </a:lnTo>
                <a:lnTo>
                  <a:pt x="2038" y="2224"/>
                </a:lnTo>
                <a:lnTo>
                  <a:pt x="2038" y="2212"/>
                </a:lnTo>
                <a:lnTo>
                  <a:pt x="2037" y="2193"/>
                </a:lnTo>
                <a:lnTo>
                  <a:pt x="2035" y="2174"/>
                </a:lnTo>
                <a:lnTo>
                  <a:pt x="2031" y="2155"/>
                </a:lnTo>
                <a:lnTo>
                  <a:pt x="2025" y="2138"/>
                </a:lnTo>
                <a:lnTo>
                  <a:pt x="2018" y="2120"/>
                </a:lnTo>
                <a:lnTo>
                  <a:pt x="2010" y="2103"/>
                </a:lnTo>
                <a:lnTo>
                  <a:pt x="2000" y="2088"/>
                </a:lnTo>
                <a:lnTo>
                  <a:pt x="1989" y="2073"/>
                </a:lnTo>
                <a:lnTo>
                  <a:pt x="1976" y="2060"/>
                </a:lnTo>
                <a:lnTo>
                  <a:pt x="1963" y="2046"/>
                </a:lnTo>
                <a:lnTo>
                  <a:pt x="1949" y="2035"/>
                </a:lnTo>
                <a:lnTo>
                  <a:pt x="1934" y="2024"/>
                </a:lnTo>
                <a:lnTo>
                  <a:pt x="1918" y="2015"/>
                </a:lnTo>
                <a:lnTo>
                  <a:pt x="1901" y="2008"/>
                </a:lnTo>
                <a:lnTo>
                  <a:pt x="1882" y="2002"/>
                </a:lnTo>
                <a:lnTo>
                  <a:pt x="1864" y="1997"/>
                </a:lnTo>
                <a:close/>
                <a:moveTo>
                  <a:pt x="1305" y="2291"/>
                </a:moveTo>
                <a:lnTo>
                  <a:pt x="1297" y="2290"/>
                </a:lnTo>
                <a:lnTo>
                  <a:pt x="1290" y="2289"/>
                </a:lnTo>
                <a:lnTo>
                  <a:pt x="1281" y="2287"/>
                </a:lnTo>
                <a:lnTo>
                  <a:pt x="1274" y="2285"/>
                </a:lnTo>
                <a:lnTo>
                  <a:pt x="1267" y="2281"/>
                </a:lnTo>
                <a:lnTo>
                  <a:pt x="1261" y="2277"/>
                </a:lnTo>
                <a:lnTo>
                  <a:pt x="1255" y="2273"/>
                </a:lnTo>
                <a:lnTo>
                  <a:pt x="1249" y="2268"/>
                </a:lnTo>
                <a:lnTo>
                  <a:pt x="1244" y="2262"/>
                </a:lnTo>
                <a:lnTo>
                  <a:pt x="1240" y="2256"/>
                </a:lnTo>
                <a:lnTo>
                  <a:pt x="1236" y="2250"/>
                </a:lnTo>
                <a:lnTo>
                  <a:pt x="1233" y="2243"/>
                </a:lnTo>
                <a:lnTo>
                  <a:pt x="1230" y="2236"/>
                </a:lnTo>
                <a:lnTo>
                  <a:pt x="1228" y="2229"/>
                </a:lnTo>
                <a:lnTo>
                  <a:pt x="1227" y="2221"/>
                </a:lnTo>
                <a:lnTo>
                  <a:pt x="1227" y="2212"/>
                </a:lnTo>
                <a:lnTo>
                  <a:pt x="1227" y="2204"/>
                </a:lnTo>
                <a:lnTo>
                  <a:pt x="1228" y="2196"/>
                </a:lnTo>
                <a:lnTo>
                  <a:pt x="1230" y="2189"/>
                </a:lnTo>
                <a:lnTo>
                  <a:pt x="1233" y="2182"/>
                </a:lnTo>
                <a:lnTo>
                  <a:pt x="1236" y="2175"/>
                </a:lnTo>
                <a:lnTo>
                  <a:pt x="1240" y="2169"/>
                </a:lnTo>
                <a:lnTo>
                  <a:pt x="1244" y="2163"/>
                </a:lnTo>
                <a:lnTo>
                  <a:pt x="1249" y="2157"/>
                </a:lnTo>
                <a:lnTo>
                  <a:pt x="1255" y="2152"/>
                </a:lnTo>
                <a:lnTo>
                  <a:pt x="1261" y="2148"/>
                </a:lnTo>
                <a:lnTo>
                  <a:pt x="1267" y="2144"/>
                </a:lnTo>
                <a:lnTo>
                  <a:pt x="1274" y="2141"/>
                </a:lnTo>
                <a:lnTo>
                  <a:pt x="1281" y="2138"/>
                </a:lnTo>
                <a:lnTo>
                  <a:pt x="1290" y="2136"/>
                </a:lnTo>
                <a:lnTo>
                  <a:pt x="1297" y="2134"/>
                </a:lnTo>
                <a:lnTo>
                  <a:pt x="1305" y="2133"/>
                </a:lnTo>
                <a:lnTo>
                  <a:pt x="1313" y="2134"/>
                </a:lnTo>
                <a:lnTo>
                  <a:pt x="1321" y="2136"/>
                </a:lnTo>
                <a:lnTo>
                  <a:pt x="1328" y="2138"/>
                </a:lnTo>
                <a:lnTo>
                  <a:pt x="1335" y="2141"/>
                </a:lnTo>
                <a:lnTo>
                  <a:pt x="1342" y="2144"/>
                </a:lnTo>
                <a:lnTo>
                  <a:pt x="1349" y="2148"/>
                </a:lnTo>
                <a:lnTo>
                  <a:pt x="1355" y="2152"/>
                </a:lnTo>
                <a:lnTo>
                  <a:pt x="1360" y="2157"/>
                </a:lnTo>
                <a:lnTo>
                  <a:pt x="1365" y="2163"/>
                </a:lnTo>
                <a:lnTo>
                  <a:pt x="1370" y="2169"/>
                </a:lnTo>
                <a:lnTo>
                  <a:pt x="1374" y="2175"/>
                </a:lnTo>
                <a:lnTo>
                  <a:pt x="1378" y="2182"/>
                </a:lnTo>
                <a:lnTo>
                  <a:pt x="1380" y="2189"/>
                </a:lnTo>
                <a:lnTo>
                  <a:pt x="1382" y="2196"/>
                </a:lnTo>
                <a:lnTo>
                  <a:pt x="1384" y="2204"/>
                </a:lnTo>
                <a:lnTo>
                  <a:pt x="1384" y="2212"/>
                </a:lnTo>
                <a:lnTo>
                  <a:pt x="1384" y="2221"/>
                </a:lnTo>
                <a:lnTo>
                  <a:pt x="1382" y="2229"/>
                </a:lnTo>
                <a:lnTo>
                  <a:pt x="1380" y="2236"/>
                </a:lnTo>
                <a:lnTo>
                  <a:pt x="1378" y="2243"/>
                </a:lnTo>
                <a:lnTo>
                  <a:pt x="1374" y="2250"/>
                </a:lnTo>
                <a:lnTo>
                  <a:pt x="1370" y="2256"/>
                </a:lnTo>
                <a:lnTo>
                  <a:pt x="1365" y="2262"/>
                </a:lnTo>
                <a:lnTo>
                  <a:pt x="1360" y="2268"/>
                </a:lnTo>
                <a:lnTo>
                  <a:pt x="1355" y="2273"/>
                </a:lnTo>
                <a:lnTo>
                  <a:pt x="1349" y="2277"/>
                </a:lnTo>
                <a:lnTo>
                  <a:pt x="1342" y="2281"/>
                </a:lnTo>
                <a:lnTo>
                  <a:pt x="1335" y="2285"/>
                </a:lnTo>
                <a:lnTo>
                  <a:pt x="1328" y="2287"/>
                </a:lnTo>
                <a:lnTo>
                  <a:pt x="1321" y="2289"/>
                </a:lnTo>
                <a:lnTo>
                  <a:pt x="1313" y="2290"/>
                </a:lnTo>
                <a:lnTo>
                  <a:pt x="1305" y="2291"/>
                </a:lnTo>
                <a:close/>
                <a:moveTo>
                  <a:pt x="1801" y="1570"/>
                </a:moveTo>
                <a:lnTo>
                  <a:pt x="1810" y="1570"/>
                </a:lnTo>
                <a:lnTo>
                  <a:pt x="1818" y="1571"/>
                </a:lnTo>
                <a:lnTo>
                  <a:pt x="1825" y="1573"/>
                </a:lnTo>
                <a:lnTo>
                  <a:pt x="1832" y="1576"/>
                </a:lnTo>
                <a:lnTo>
                  <a:pt x="1839" y="1579"/>
                </a:lnTo>
                <a:lnTo>
                  <a:pt x="1845" y="1583"/>
                </a:lnTo>
                <a:lnTo>
                  <a:pt x="1851" y="1587"/>
                </a:lnTo>
                <a:lnTo>
                  <a:pt x="1857" y="1592"/>
                </a:lnTo>
                <a:lnTo>
                  <a:pt x="1862" y="1598"/>
                </a:lnTo>
                <a:lnTo>
                  <a:pt x="1866" y="1604"/>
                </a:lnTo>
                <a:lnTo>
                  <a:pt x="1870" y="1610"/>
                </a:lnTo>
                <a:lnTo>
                  <a:pt x="1874" y="1617"/>
                </a:lnTo>
                <a:lnTo>
                  <a:pt x="1876" y="1625"/>
                </a:lnTo>
                <a:lnTo>
                  <a:pt x="1878" y="1633"/>
                </a:lnTo>
                <a:lnTo>
                  <a:pt x="1879" y="1640"/>
                </a:lnTo>
                <a:lnTo>
                  <a:pt x="1880" y="1648"/>
                </a:lnTo>
                <a:lnTo>
                  <a:pt x="1879" y="1656"/>
                </a:lnTo>
                <a:lnTo>
                  <a:pt x="1878" y="1664"/>
                </a:lnTo>
                <a:lnTo>
                  <a:pt x="1876" y="1671"/>
                </a:lnTo>
                <a:lnTo>
                  <a:pt x="1874" y="1678"/>
                </a:lnTo>
                <a:lnTo>
                  <a:pt x="1870" y="1685"/>
                </a:lnTo>
                <a:lnTo>
                  <a:pt x="1866" y="1692"/>
                </a:lnTo>
                <a:lnTo>
                  <a:pt x="1862" y="1698"/>
                </a:lnTo>
                <a:lnTo>
                  <a:pt x="1857" y="1703"/>
                </a:lnTo>
                <a:lnTo>
                  <a:pt x="1851" y="1708"/>
                </a:lnTo>
                <a:lnTo>
                  <a:pt x="1845" y="1713"/>
                </a:lnTo>
                <a:lnTo>
                  <a:pt x="1839" y="1717"/>
                </a:lnTo>
                <a:lnTo>
                  <a:pt x="1832" y="1721"/>
                </a:lnTo>
                <a:lnTo>
                  <a:pt x="1825" y="1723"/>
                </a:lnTo>
                <a:lnTo>
                  <a:pt x="1818" y="1725"/>
                </a:lnTo>
                <a:lnTo>
                  <a:pt x="1810" y="1726"/>
                </a:lnTo>
                <a:lnTo>
                  <a:pt x="1801" y="1727"/>
                </a:lnTo>
                <a:lnTo>
                  <a:pt x="1793" y="1726"/>
                </a:lnTo>
                <a:lnTo>
                  <a:pt x="1785" y="1725"/>
                </a:lnTo>
                <a:lnTo>
                  <a:pt x="1778" y="1723"/>
                </a:lnTo>
                <a:lnTo>
                  <a:pt x="1771" y="1721"/>
                </a:lnTo>
                <a:lnTo>
                  <a:pt x="1764" y="1717"/>
                </a:lnTo>
                <a:lnTo>
                  <a:pt x="1758" y="1713"/>
                </a:lnTo>
                <a:lnTo>
                  <a:pt x="1752" y="1708"/>
                </a:lnTo>
                <a:lnTo>
                  <a:pt x="1746" y="1703"/>
                </a:lnTo>
                <a:lnTo>
                  <a:pt x="1741" y="1698"/>
                </a:lnTo>
                <a:lnTo>
                  <a:pt x="1737" y="1692"/>
                </a:lnTo>
                <a:lnTo>
                  <a:pt x="1733" y="1685"/>
                </a:lnTo>
                <a:lnTo>
                  <a:pt x="1730" y="1678"/>
                </a:lnTo>
                <a:lnTo>
                  <a:pt x="1727" y="1671"/>
                </a:lnTo>
                <a:lnTo>
                  <a:pt x="1725" y="1664"/>
                </a:lnTo>
                <a:lnTo>
                  <a:pt x="1724" y="1656"/>
                </a:lnTo>
                <a:lnTo>
                  <a:pt x="1723" y="1648"/>
                </a:lnTo>
                <a:lnTo>
                  <a:pt x="1724" y="1640"/>
                </a:lnTo>
                <a:lnTo>
                  <a:pt x="1725" y="1633"/>
                </a:lnTo>
                <a:lnTo>
                  <a:pt x="1727" y="1625"/>
                </a:lnTo>
                <a:lnTo>
                  <a:pt x="1730" y="1617"/>
                </a:lnTo>
                <a:lnTo>
                  <a:pt x="1733" y="1610"/>
                </a:lnTo>
                <a:lnTo>
                  <a:pt x="1737" y="1604"/>
                </a:lnTo>
                <a:lnTo>
                  <a:pt x="1741" y="1598"/>
                </a:lnTo>
                <a:lnTo>
                  <a:pt x="1746" y="1592"/>
                </a:lnTo>
                <a:lnTo>
                  <a:pt x="1752" y="1587"/>
                </a:lnTo>
                <a:lnTo>
                  <a:pt x="1758" y="1583"/>
                </a:lnTo>
                <a:lnTo>
                  <a:pt x="1764" y="1579"/>
                </a:lnTo>
                <a:lnTo>
                  <a:pt x="1771" y="1576"/>
                </a:lnTo>
                <a:lnTo>
                  <a:pt x="1778" y="1573"/>
                </a:lnTo>
                <a:lnTo>
                  <a:pt x="1785" y="1571"/>
                </a:lnTo>
                <a:lnTo>
                  <a:pt x="1793" y="1570"/>
                </a:lnTo>
                <a:lnTo>
                  <a:pt x="1801" y="1570"/>
                </a:lnTo>
                <a:close/>
                <a:moveTo>
                  <a:pt x="1818" y="2291"/>
                </a:moveTo>
                <a:lnTo>
                  <a:pt x="1810" y="2290"/>
                </a:lnTo>
                <a:lnTo>
                  <a:pt x="1802" y="2289"/>
                </a:lnTo>
                <a:lnTo>
                  <a:pt x="1794" y="2287"/>
                </a:lnTo>
                <a:lnTo>
                  <a:pt x="1787" y="2285"/>
                </a:lnTo>
                <a:lnTo>
                  <a:pt x="1780" y="2281"/>
                </a:lnTo>
                <a:lnTo>
                  <a:pt x="1774" y="2277"/>
                </a:lnTo>
                <a:lnTo>
                  <a:pt x="1768" y="2273"/>
                </a:lnTo>
                <a:lnTo>
                  <a:pt x="1762" y="2268"/>
                </a:lnTo>
                <a:lnTo>
                  <a:pt x="1757" y="2262"/>
                </a:lnTo>
                <a:lnTo>
                  <a:pt x="1753" y="2256"/>
                </a:lnTo>
                <a:lnTo>
                  <a:pt x="1749" y="2250"/>
                </a:lnTo>
                <a:lnTo>
                  <a:pt x="1746" y="2243"/>
                </a:lnTo>
                <a:lnTo>
                  <a:pt x="1743" y="2236"/>
                </a:lnTo>
                <a:lnTo>
                  <a:pt x="1741" y="2229"/>
                </a:lnTo>
                <a:lnTo>
                  <a:pt x="1740" y="2221"/>
                </a:lnTo>
                <a:lnTo>
                  <a:pt x="1740" y="2212"/>
                </a:lnTo>
                <a:lnTo>
                  <a:pt x="1740" y="2204"/>
                </a:lnTo>
                <a:lnTo>
                  <a:pt x="1741" y="2196"/>
                </a:lnTo>
                <a:lnTo>
                  <a:pt x="1743" y="2189"/>
                </a:lnTo>
                <a:lnTo>
                  <a:pt x="1746" y="2182"/>
                </a:lnTo>
                <a:lnTo>
                  <a:pt x="1749" y="2175"/>
                </a:lnTo>
                <a:lnTo>
                  <a:pt x="1753" y="2169"/>
                </a:lnTo>
                <a:lnTo>
                  <a:pt x="1757" y="2163"/>
                </a:lnTo>
                <a:lnTo>
                  <a:pt x="1762" y="2157"/>
                </a:lnTo>
                <a:lnTo>
                  <a:pt x="1768" y="2152"/>
                </a:lnTo>
                <a:lnTo>
                  <a:pt x="1774" y="2148"/>
                </a:lnTo>
                <a:lnTo>
                  <a:pt x="1780" y="2144"/>
                </a:lnTo>
                <a:lnTo>
                  <a:pt x="1787" y="2141"/>
                </a:lnTo>
                <a:lnTo>
                  <a:pt x="1794" y="2138"/>
                </a:lnTo>
                <a:lnTo>
                  <a:pt x="1802" y="2136"/>
                </a:lnTo>
                <a:lnTo>
                  <a:pt x="1810" y="2134"/>
                </a:lnTo>
                <a:lnTo>
                  <a:pt x="1818" y="2133"/>
                </a:lnTo>
                <a:lnTo>
                  <a:pt x="1826" y="2134"/>
                </a:lnTo>
                <a:lnTo>
                  <a:pt x="1834" y="2136"/>
                </a:lnTo>
                <a:lnTo>
                  <a:pt x="1841" y="2138"/>
                </a:lnTo>
                <a:lnTo>
                  <a:pt x="1849" y="2141"/>
                </a:lnTo>
                <a:lnTo>
                  <a:pt x="1855" y="2144"/>
                </a:lnTo>
                <a:lnTo>
                  <a:pt x="1862" y="2148"/>
                </a:lnTo>
                <a:lnTo>
                  <a:pt x="1868" y="2152"/>
                </a:lnTo>
                <a:lnTo>
                  <a:pt x="1873" y="2157"/>
                </a:lnTo>
                <a:lnTo>
                  <a:pt x="1878" y="2163"/>
                </a:lnTo>
                <a:lnTo>
                  <a:pt x="1883" y="2169"/>
                </a:lnTo>
                <a:lnTo>
                  <a:pt x="1887" y="2175"/>
                </a:lnTo>
                <a:lnTo>
                  <a:pt x="1890" y="2182"/>
                </a:lnTo>
                <a:lnTo>
                  <a:pt x="1893" y="2189"/>
                </a:lnTo>
                <a:lnTo>
                  <a:pt x="1895" y="2196"/>
                </a:lnTo>
                <a:lnTo>
                  <a:pt x="1897" y="2204"/>
                </a:lnTo>
                <a:lnTo>
                  <a:pt x="1897" y="2212"/>
                </a:lnTo>
                <a:lnTo>
                  <a:pt x="1897" y="2221"/>
                </a:lnTo>
                <a:lnTo>
                  <a:pt x="1895" y="2229"/>
                </a:lnTo>
                <a:lnTo>
                  <a:pt x="1893" y="2236"/>
                </a:lnTo>
                <a:lnTo>
                  <a:pt x="1890" y="2243"/>
                </a:lnTo>
                <a:lnTo>
                  <a:pt x="1887" y="2250"/>
                </a:lnTo>
                <a:lnTo>
                  <a:pt x="1883" y="2256"/>
                </a:lnTo>
                <a:lnTo>
                  <a:pt x="1878" y="2262"/>
                </a:lnTo>
                <a:lnTo>
                  <a:pt x="1873" y="2268"/>
                </a:lnTo>
                <a:lnTo>
                  <a:pt x="1868" y="2273"/>
                </a:lnTo>
                <a:lnTo>
                  <a:pt x="1862" y="2277"/>
                </a:lnTo>
                <a:lnTo>
                  <a:pt x="1855" y="2281"/>
                </a:lnTo>
                <a:lnTo>
                  <a:pt x="1849" y="2285"/>
                </a:lnTo>
                <a:lnTo>
                  <a:pt x="1841" y="2287"/>
                </a:lnTo>
                <a:lnTo>
                  <a:pt x="1834" y="2289"/>
                </a:lnTo>
                <a:lnTo>
                  <a:pt x="1826" y="2290"/>
                </a:lnTo>
                <a:lnTo>
                  <a:pt x="1818" y="2291"/>
                </a:lnTo>
                <a:close/>
                <a:moveTo>
                  <a:pt x="1257" y="1863"/>
                </a:moveTo>
                <a:lnTo>
                  <a:pt x="1268" y="1865"/>
                </a:lnTo>
                <a:lnTo>
                  <a:pt x="1280" y="1867"/>
                </a:lnTo>
                <a:lnTo>
                  <a:pt x="1293" y="1868"/>
                </a:lnTo>
                <a:lnTo>
                  <a:pt x="1305" y="1868"/>
                </a:lnTo>
                <a:lnTo>
                  <a:pt x="1317" y="1868"/>
                </a:lnTo>
                <a:lnTo>
                  <a:pt x="1328" y="1867"/>
                </a:lnTo>
                <a:lnTo>
                  <a:pt x="1338" y="1866"/>
                </a:lnTo>
                <a:lnTo>
                  <a:pt x="1349" y="1864"/>
                </a:lnTo>
                <a:lnTo>
                  <a:pt x="1360" y="1861"/>
                </a:lnTo>
                <a:lnTo>
                  <a:pt x="1370" y="1858"/>
                </a:lnTo>
                <a:lnTo>
                  <a:pt x="1381" y="1855"/>
                </a:lnTo>
                <a:lnTo>
                  <a:pt x="1391" y="1851"/>
                </a:lnTo>
                <a:lnTo>
                  <a:pt x="1401" y="1847"/>
                </a:lnTo>
                <a:lnTo>
                  <a:pt x="1410" y="1842"/>
                </a:lnTo>
                <a:lnTo>
                  <a:pt x="1419" y="1837"/>
                </a:lnTo>
                <a:lnTo>
                  <a:pt x="1428" y="1831"/>
                </a:lnTo>
                <a:lnTo>
                  <a:pt x="1445" y="1818"/>
                </a:lnTo>
                <a:lnTo>
                  <a:pt x="1460" y="1804"/>
                </a:lnTo>
                <a:lnTo>
                  <a:pt x="1475" y="1788"/>
                </a:lnTo>
                <a:lnTo>
                  <a:pt x="1488" y="1771"/>
                </a:lnTo>
                <a:lnTo>
                  <a:pt x="1494" y="1762"/>
                </a:lnTo>
                <a:lnTo>
                  <a:pt x="1499" y="1753"/>
                </a:lnTo>
                <a:lnTo>
                  <a:pt x="1504" y="1744"/>
                </a:lnTo>
                <a:lnTo>
                  <a:pt x="1508" y="1734"/>
                </a:lnTo>
                <a:lnTo>
                  <a:pt x="1512" y="1724"/>
                </a:lnTo>
                <a:lnTo>
                  <a:pt x="1515" y="1714"/>
                </a:lnTo>
                <a:lnTo>
                  <a:pt x="1518" y="1703"/>
                </a:lnTo>
                <a:lnTo>
                  <a:pt x="1521" y="1692"/>
                </a:lnTo>
                <a:lnTo>
                  <a:pt x="1523" y="1681"/>
                </a:lnTo>
                <a:lnTo>
                  <a:pt x="1524" y="1670"/>
                </a:lnTo>
                <a:lnTo>
                  <a:pt x="1525" y="1659"/>
                </a:lnTo>
                <a:lnTo>
                  <a:pt x="1525" y="1648"/>
                </a:lnTo>
                <a:lnTo>
                  <a:pt x="1525" y="1637"/>
                </a:lnTo>
                <a:lnTo>
                  <a:pt x="1524" y="1626"/>
                </a:lnTo>
                <a:lnTo>
                  <a:pt x="1523" y="1614"/>
                </a:lnTo>
                <a:lnTo>
                  <a:pt x="1521" y="1603"/>
                </a:lnTo>
                <a:lnTo>
                  <a:pt x="1518" y="1593"/>
                </a:lnTo>
                <a:lnTo>
                  <a:pt x="1515" y="1582"/>
                </a:lnTo>
                <a:lnTo>
                  <a:pt x="1512" y="1572"/>
                </a:lnTo>
                <a:lnTo>
                  <a:pt x="1508" y="1562"/>
                </a:lnTo>
                <a:lnTo>
                  <a:pt x="1504" y="1553"/>
                </a:lnTo>
                <a:lnTo>
                  <a:pt x="1499" y="1543"/>
                </a:lnTo>
                <a:lnTo>
                  <a:pt x="1494" y="1533"/>
                </a:lnTo>
                <a:lnTo>
                  <a:pt x="1488" y="1524"/>
                </a:lnTo>
                <a:lnTo>
                  <a:pt x="1475" y="1508"/>
                </a:lnTo>
                <a:lnTo>
                  <a:pt x="1460" y="1492"/>
                </a:lnTo>
                <a:lnTo>
                  <a:pt x="1445" y="1478"/>
                </a:lnTo>
                <a:lnTo>
                  <a:pt x="1428" y="1465"/>
                </a:lnTo>
                <a:lnTo>
                  <a:pt x="1419" y="1460"/>
                </a:lnTo>
                <a:lnTo>
                  <a:pt x="1410" y="1455"/>
                </a:lnTo>
                <a:lnTo>
                  <a:pt x="1401" y="1449"/>
                </a:lnTo>
                <a:lnTo>
                  <a:pt x="1391" y="1444"/>
                </a:lnTo>
                <a:lnTo>
                  <a:pt x="1381" y="1440"/>
                </a:lnTo>
                <a:lnTo>
                  <a:pt x="1370" y="1437"/>
                </a:lnTo>
                <a:lnTo>
                  <a:pt x="1360" y="1434"/>
                </a:lnTo>
                <a:lnTo>
                  <a:pt x="1349" y="1432"/>
                </a:lnTo>
                <a:lnTo>
                  <a:pt x="1338" y="1430"/>
                </a:lnTo>
                <a:lnTo>
                  <a:pt x="1328" y="1428"/>
                </a:lnTo>
                <a:lnTo>
                  <a:pt x="1317" y="1427"/>
                </a:lnTo>
                <a:lnTo>
                  <a:pt x="1305" y="1427"/>
                </a:lnTo>
                <a:lnTo>
                  <a:pt x="1294" y="1427"/>
                </a:lnTo>
                <a:lnTo>
                  <a:pt x="1282" y="1428"/>
                </a:lnTo>
                <a:lnTo>
                  <a:pt x="1271" y="1430"/>
                </a:lnTo>
                <a:lnTo>
                  <a:pt x="1260" y="1432"/>
                </a:lnTo>
                <a:lnTo>
                  <a:pt x="1250" y="1434"/>
                </a:lnTo>
                <a:lnTo>
                  <a:pt x="1240" y="1437"/>
                </a:lnTo>
                <a:lnTo>
                  <a:pt x="1229" y="1440"/>
                </a:lnTo>
                <a:lnTo>
                  <a:pt x="1220" y="1444"/>
                </a:lnTo>
                <a:lnTo>
                  <a:pt x="1210" y="1449"/>
                </a:lnTo>
                <a:lnTo>
                  <a:pt x="1200" y="1455"/>
                </a:lnTo>
                <a:lnTo>
                  <a:pt x="1190" y="1460"/>
                </a:lnTo>
                <a:lnTo>
                  <a:pt x="1182" y="1465"/>
                </a:lnTo>
                <a:lnTo>
                  <a:pt x="1165" y="1478"/>
                </a:lnTo>
                <a:lnTo>
                  <a:pt x="1149" y="1492"/>
                </a:lnTo>
                <a:lnTo>
                  <a:pt x="1135" y="1508"/>
                </a:lnTo>
                <a:lnTo>
                  <a:pt x="1123" y="1524"/>
                </a:lnTo>
                <a:lnTo>
                  <a:pt x="1116" y="1533"/>
                </a:lnTo>
                <a:lnTo>
                  <a:pt x="1111" y="1543"/>
                </a:lnTo>
                <a:lnTo>
                  <a:pt x="1106" y="1553"/>
                </a:lnTo>
                <a:lnTo>
                  <a:pt x="1102" y="1562"/>
                </a:lnTo>
                <a:lnTo>
                  <a:pt x="1098" y="1572"/>
                </a:lnTo>
                <a:lnTo>
                  <a:pt x="1094" y="1582"/>
                </a:lnTo>
                <a:lnTo>
                  <a:pt x="1091" y="1593"/>
                </a:lnTo>
                <a:lnTo>
                  <a:pt x="1089" y="1603"/>
                </a:lnTo>
                <a:lnTo>
                  <a:pt x="1087" y="1614"/>
                </a:lnTo>
                <a:lnTo>
                  <a:pt x="1085" y="1626"/>
                </a:lnTo>
                <a:lnTo>
                  <a:pt x="1085" y="1637"/>
                </a:lnTo>
                <a:lnTo>
                  <a:pt x="1084" y="1648"/>
                </a:lnTo>
                <a:lnTo>
                  <a:pt x="1085" y="1667"/>
                </a:lnTo>
                <a:lnTo>
                  <a:pt x="1088" y="1686"/>
                </a:lnTo>
                <a:lnTo>
                  <a:pt x="1092" y="1704"/>
                </a:lnTo>
                <a:lnTo>
                  <a:pt x="1097" y="1723"/>
                </a:lnTo>
                <a:lnTo>
                  <a:pt x="1104" y="1740"/>
                </a:lnTo>
                <a:lnTo>
                  <a:pt x="1112" y="1756"/>
                </a:lnTo>
                <a:lnTo>
                  <a:pt x="1123" y="1771"/>
                </a:lnTo>
                <a:lnTo>
                  <a:pt x="1133" y="1786"/>
                </a:lnTo>
                <a:lnTo>
                  <a:pt x="895" y="2024"/>
                </a:lnTo>
                <a:lnTo>
                  <a:pt x="883" y="2017"/>
                </a:lnTo>
                <a:lnTo>
                  <a:pt x="870" y="2010"/>
                </a:lnTo>
                <a:lnTo>
                  <a:pt x="855" y="2005"/>
                </a:lnTo>
                <a:lnTo>
                  <a:pt x="841" y="2000"/>
                </a:lnTo>
                <a:lnTo>
                  <a:pt x="827" y="1997"/>
                </a:lnTo>
                <a:lnTo>
                  <a:pt x="812" y="1994"/>
                </a:lnTo>
                <a:lnTo>
                  <a:pt x="797" y="1993"/>
                </a:lnTo>
                <a:lnTo>
                  <a:pt x="782" y="1992"/>
                </a:lnTo>
                <a:lnTo>
                  <a:pt x="763" y="1993"/>
                </a:lnTo>
                <a:lnTo>
                  <a:pt x="747" y="1995"/>
                </a:lnTo>
                <a:lnTo>
                  <a:pt x="730" y="1998"/>
                </a:lnTo>
                <a:lnTo>
                  <a:pt x="714" y="2002"/>
                </a:lnTo>
                <a:lnTo>
                  <a:pt x="699" y="2008"/>
                </a:lnTo>
                <a:lnTo>
                  <a:pt x="683" y="2015"/>
                </a:lnTo>
                <a:lnTo>
                  <a:pt x="669" y="2022"/>
                </a:lnTo>
                <a:lnTo>
                  <a:pt x="655" y="2031"/>
                </a:lnTo>
                <a:lnTo>
                  <a:pt x="642" y="2041"/>
                </a:lnTo>
                <a:lnTo>
                  <a:pt x="630" y="2053"/>
                </a:lnTo>
                <a:lnTo>
                  <a:pt x="619" y="2064"/>
                </a:lnTo>
                <a:lnTo>
                  <a:pt x="608" y="2076"/>
                </a:lnTo>
                <a:lnTo>
                  <a:pt x="598" y="2090"/>
                </a:lnTo>
                <a:lnTo>
                  <a:pt x="589" y="2103"/>
                </a:lnTo>
                <a:lnTo>
                  <a:pt x="582" y="2118"/>
                </a:lnTo>
                <a:lnTo>
                  <a:pt x="575" y="2133"/>
                </a:lnTo>
                <a:lnTo>
                  <a:pt x="425" y="2133"/>
                </a:lnTo>
                <a:lnTo>
                  <a:pt x="417" y="2114"/>
                </a:lnTo>
                <a:lnTo>
                  <a:pt x="407" y="2096"/>
                </a:lnTo>
                <a:lnTo>
                  <a:pt x="395" y="2079"/>
                </a:lnTo>
                <a:lnTo>
                  <a:pt x="382" y="2063"/>
                </a:lnTo>
                <a:lnTo>
                  <a:pt x="368" y="2048"/>
                </a:lnTo>
                <a:lnTo>
                  <a:pt x="352" y="2035"/>
                </a:lnTo>
                <a:lnTo>
                  <a:pt x="334" y="2023"/>
                </a:lnTo>
                <a:lnTo>
                  <a:pt x="316" y="2014"/>
                </a:lnTo>
                <a:lnTo>
                  <a:pt x="316" y="1055"/>
                </a:lnTo>
                <a:lnTo>
                  <a:pt x="331" y="1048"/>
                </a:lnTo>
                <a:lnTo>
                  <a:pt x="346" y="1041"/>
                </a:lnTo>
                <a:lnTo>
                  <a:pt x="360" y="1032"/>
                </a:lnTo>
                <a:lnTo>
                  <a:pt x="373" y="1022"/>
                </a:lnTo>
                <a:lnTo>
                  <a:pt x="385" y="1011"/>
                </a:lnTo>
                <a:lnTo>
                  <a:pt x="397" y="1000"/>
                </a:lnTo>
                <a:lnTo>
                  <a:pt x="407" y="988"/>
                </a:lnTo>
                <a:lnTo>
                  <a:pt x="417" y="975"/>
                </a:lnTo>
                <a:lnTo>
                  <a:pt x="426" y="961"/>
                </a:lnTo>
                <a:lnTo>
                  <a:pt x="435" y="947"/>
                </a:lnTo>
                <a:lnTo>
                  <a:pt x="441" y="931"/>
                </a:lnTo>
                <a:lnTo>
                  <a:pt x="447" y="916"/>
                </a:lnTo>
                <a:lnTo>
                  <a:pt x="451" y="900"/>
                </a:lnTo>
                <a:lnTo>
                  <a:pt x="455" y="884"/>
                </a:lnTo>
                <a:lnTo>
                  <a:pt x="457" y="867"/>
                </a:lnTo>
                <a:lnTo>
                  <a:pt x="457" y="848"/>
                </a:lnTo>
                <a:lnTo>
                  <a:pt x="457" y="837"/>
                </a:lnTo>
                <a:lnTo>
                  <a:pt x="456" y="826"/>
                </a:lnTo>
                <a:lnTo>
                  <a:pt x="455" y="815"/>
                </a:lnTo>
                <a:lnTo>
                  <a:pt x="453" y="805"/>
                </a:lnTo>
                <a:lnTo>
                  <a:pt x="450" y="794"/>
                </a:lnTo>
                <a:lnTo>
                  <a:pt x="447" y="784"/>
                </a:lnTo>
                <a:lnTo>
                  <a:pt x="444" y="774"/>
                </a:lnTo>
                <a:lnTo>
                  <a:pt x="440" y="763"/>
                </a:lnTo>
                <a:lnTo>
                  <a:pt x="436" y="753"/>
                </a:lnTo>
                <a:lnTo>
                  <a:pt x="431" y="744"/>
                </a:lnTo>
                <a:lnTo>
                  <a:pt x="425" y="735"/>
                </a:lnTo>
                <a:lnTo>
                  <a:pt x="419" y="726"/>
                </a:lnTo>
                <a:lnTo>
                  <a:pt x="406" y="709"/>
                </a:lnTo>
                <a:lnTo>
                  <a:pt x="392" y="693"/>
                </a:lnTo>
                <a:lnTo>
                  <a:pt x="377" y="678"/>
                </a:lnTo>
                <a:lnTo>
                  <a:pt x="360" y="666"/>
                </a:lnTo>
                <a:lnTo>
                  <a:pt x="351" y="660"/>
                </a:lnTo>
                <a:lnTo>
                  <a:pt x="341" y="655"/>
                </a:lnTo>
                <a:lnTo>
                  <a:pt x="332" y="650"/>
                </a:lnTo>
                <a:lnTo>
                  <a:pt x="322" y="646"/>
                </a:lnTo>
                <a:lnTo>
                  <a:pt x="312" y="642"/>
                </a:lnTo>
                <a:lnTo>
                  <a:pt x="302" y="638"/>
                </a:lnTo>
                <a:lnTo>
                  <a:pt x="292" y="635"/>
                </a:lnTo>
                <a:lnTo>
                  <a:pt x="281" y="633"/>
                </a:lnTo>
                <a:lnTo>
                  <a:pt x="270" y="631"/>
                </a:lnTo>
                <a:lnTo>
                  <a:pt x="260" y="630"/>
                </a:lnTo>
                <a:lnTo>
                  <a:pt x="248" y="629"/>
                </a:lnTo>
                <a:lnTo>
                  <a:pt x="236" y="629"/>
                </a:lnTo>
                <a:lnTo>
                  <a:pt x="225" y="629"/>
                </a:lnTo>
                <a:lnTo>
                  <a:pt x="214" y="630"/>
                </a:lnTo>
                <a:lnTo>
                  <a:pt x="203" y="631"/>
                </a:lnTo>
                <a:lnTo>
                  <a:pt x="192" y="633"/>
                </a:lnTo>
                <a:lnTo>
                  <a:pt x="182" y="635"/>
                </a:lnTo>
                <a:lnTo>
                  <a:pt x="172" y="638"/>
                </a:lnTo>
                <a:lnTo>
                  <a:pt x="160" y="642"/>
                </a:lnTo>
                <a:lnTo>
                  <a:pt x="151" y="646"/>
                </a:lnTo>
                <a:lnTo>
                  <a:pt x="141" y="650"/>
                </a:lnTo>
                <a:lnTo>
                  <a:pt x="132" y="655"/>
                </a:lnTo>
                <a:lnTo>
                  <a:pt x="122" y="660"/>
                </a:lnTo>
                <a:lnTo>
                  <a:pt x="114" y="666"/>
                </a:lnTo>
                <a:lnTo>
                  <a:pt x="97" y="678"/>
                </a:lnTo>
                <a:lnTo>
                  <a:pt x="80" y="693"/>
                </a:lnTo>
                <a:lnTo>
                  <a:pt x="66" y="709"/>
                </a:lnTo>
                <a:lnTo>
                  <a:pt x="54" y="726"/>
                </a:lnTo>
                <a:lnTo>
                  <a:pt x="48" y="735"/>
                </a:lnTo>
                <a:lnTo>
                  <a:pt x="43" y="744"/>
                </a:lnTo>
                <a:lnTo>
                  <a:pt x="38" y="753"/>
                </a:lnTo>
                <a:lnTo>
                  <a:pt x="34" y="763"/>
                </a:lnTo>
                <a:lnTo>
                  <a:pt x="30" y="774"/>
                </a:lnTo>
                <a:lnTo>
                  <a:pt x="26" y="784"/>
                </a:lnTo>
                <a:lnTo>
                  <a:pt x="23" y="794"/>
                </a:lnTo>
                <a:lnTo>
                  <a:pt x="21" y="805"/>
                </a:lnTo>
                <a:lnTo>
                  <a:pt x="19" y="815"/>
                </a:lnTo>
                <a:lnTo>
                  <a:pt x="17" y="826"/>
                </a:lnTo>
                <a:lnTo>
                  <a:pt x="17" y="837"/>
                </a:lnTo>
                <a:lnTo>
                  <a:pt x="16" y="848"/>
                </a:lnTo>
                <a:lnTo>
                  <a:pt x="17" y="868"/>
                </a:lnTo>
                <a:lnTo>
                  <a:pt x="19" y="886"/>
                </a:lnTo>
                <a:lnTo>
                  <a:pt x="23" y="903"/>
                </a:lnTo>
                <a:lnTo>
                  <a:pt x="28" y="920"/>
                </a:lnTo>
                <a:lnTo>
                  <a:pt x="34" y="936"/>
                </a:lnTo>
                <a:lnTo>
                  <a:pt x="42" y="953"/>
                </a:lnTo>
                <a:lnTo>
                  <a:pt x="51" y="968"/>
                </a:lnTo>
                <a:lnTo>
                  <a:pt x="61" y="982"/>
                </a:lnTo>
                <a:lnTo>
                  <a:pt x="71" y="995"/>
                </a:lnTo>
                <a:lnTo>
                  <a:pt x="83" y="1008"/>
                </a:lnTo>
                <a:lnTo>
                  <a:pt x="97" y="1019"/>
                </a:lnTo>
                <a:lnTo>
                  <a:pt x="111" y="1030"/>
                </a:lnTo>
                <a:lnTo>
                  <a:pt x="125" y="1040"/>
                </a:lnTo>
                <a:lnTo>
                  <a:pt x="141" y="1048"/>
                </a:lnTo>
                <a:lnTo>
                  <a:pt x="157" y="1055"/>
                </a:lnTo>
                <a:lnTo>
                  <a:pt x="174" y="1060"/>
                </a:lnTo>
                <a:lnTo>
                  <a:pt x="174" y="1997"/>
                </a:lnTo>
                <a:lnTo>
                  <a:pt x="155" y="2002"/>
                </a:lnTo>
                <a:lnTo>
                  <a:pt x="138" y="2008"/>
                </a:lnTo>
                <a:lnTo>
                  <a:pt x="121" y="2015"/>
                </a:lnTo>
                <a:lnTo>
                  <a:pt x="105" y="2024"/>
                </a:lnTo>
                <a:lnTo>
                  <a:pt x="90" y="2035"/>
                </a:lnTo>
                <a:lnTo>
                  <a:pt x="75" y="2046"/>
                </a:lnTo>
                <a:lnTo>
                  <a:pt x="61" y="2060"/>
                </a:lnTo>
                <a:lnTo>
                  <a:pt x="49" y="2073"/>
                </a:lnTo>
                <a:lnTo>
                  <a:pt x="38" y="2088"/>
                </a:lnTo>
                <a:lnTo>
                  <a:pt x="29" y="2103"/>
                </a:lnTo>
                <a:lnTo>
                  <a:pt x="20" y="2120"/>
                </a:lnTo>
                <a:lnTo>
                  <a:pt x="13" y="2138"/>
                </a:lnTo>
                <a:lnTo>
                  <a:pt x="8" y="2155"/>
                </a:lnTo>
                <a:lnTo>
                  <a:pt x="3" y="2174"/>
                </a:lnTo>
                <a:lnTo>
                  <a:pt x="1" y="2193"/>
                </a:lnTo>
                <a:lnTo>
                  <a:pt x="0" y="2212"/>
                </a:lnTo>
                <a:lnTo>
                  <a:pt x="0" y="2224"/>
                </a:lnTo>
                <a:lnTo>
                  <a:pt x="1" y="2235"/>
                </a:lnTo>
                <a:lnTo>
                  <a:pt x="3" y="2246"/>
                </a:lnTo>
                <a:lnTo>
                  <a:pt x="5" y="2257"/>
                </a:lnTo>
                <a:lnTo>
                  <a:pt x="7" y="2267"/>
                </a:lnTo>
                <a:lnTo>
                  <a:pt x="10" y="2278"/>
                </a:lnTo>
                <a:lnTo>
                  <a:pt x="13" y="2288"/>
                </a:lnTo>
                <a:lnTo>
                  <a:pt x="17" y="2298"/>
                </a:lnTo>
                <a:lnTo>
                  <a:pt x="22" y="2308"/>
                </a:lnTo>
                <a:lnTo>
                  <a:pt x="26" y="2318"/>
                </a:lnTo>
                <a:lnTo>
                  <a:pt x="32" y="2327"/>
                </a:lnTo>
                <a:lnTo>
                  <a:pt x="37" y="2336"/>
                </a:lnTo>
                <a:lnTo>
                  <a:pt x="50" y="2353"/>
                </a:lnTo>
                <a:lnTo>
                  <a:pt x="64" y="2368"/>
                </a:lnTo>
                <a:lnTo>
                  <a:pt x="79" y="2382"/>
                </a:lnTo>
                <a:lnTo>
                  <a:pt x="97" y="2396"/>
                </a:lnTo>
                <a:lnTo>
                  <a:pt x="106" y="2401"/>
                </a:lnTo>
                <a:lnTo>
                  <a:pt x="115" y="2407"/>
                </a:lnTo>
                <a:lnTo>
                  <a:pt x="125" y="2411"/>
                </a:lnTo>
                <a:lnTo>
                  <a:pt x="134" y="2416"/>
                </a:lnTo>
                <a:lnTo>
                  <a:pt x="144" y="2420"/>
                </a:lnTo>
                <a:lnTo>
                  <a:pt x="154" y="2423"/>
                </a:lnTo>
                <a:lnTo>
                  <a:pt x="165" y="2426"/>
                </a:lnTo>
                <a:lnTo>
                  <a:pt x="176" y="2429"/>
                </a:lnTo>
                <a:lnTo>
                  <a:pt x="187" y="2430"/>
                </a:lnTo>
                <a:lnTo>
                  <a:pt x="198" y="2432"/>
                </a:lnTo>
                <a:lnTo>
                  <a:pt x="209" y="2433"/>
                </a:lnTo>
                <a:lnTo>
                  <a:pt x="220" y="2433"/>
                </a:lnTo>
                <a:lnTo>
                  <a:pt x="238" y="2432"/>
                </a:lnTo>
                <a:lnTo>
                  <a:pt x="257" y="2430"/>
                </a:lnTo>
                <a:lnTo>
                  <a:pt x="275" y="2426"/>
                </a:lnTo>
                <a:lnTo>
                  <a:pt x="292" y="2421"/>
                </a:lnTo>
                <a:lnTo>
                  <a:pt x="308" y="2415"/>
                </a:lnTo>
                <a:lnTo>
                  <a:pt x="323" y="2407"/>
                </a:lnTo>
                <a:lnTo>
                  <a:pt x="338" y="2399"/>
                </a:lnTo>
                <a:lnTo>
                  <a:pt x="353" y="2388"/>
                </a:lnTo>
                <a:lnTo>
                  <a:pt x="367" y="2377"/>
                </a:lnTo>
                <a:lnTo>
                  <a:pt x="379" y="2365"/>
                </a:lnTo>
                <a:lnTo>
                  <a:pt x="390" y="2352"/>
                </a:lnTo>
                <a:lnTo>
                  <a:pt x="401" y="2338"/>
                </a:lnTo>
                <a:lnTo>
                  <a:pt x="410" y="2324"/>
                </a:lnTo>
                <a:lnTo>
                  <a:pt x="418" y="2309"/>
                </a:lnTo>
                <a:lnTo>
                  <a:pt x="425" y="2292"/>
                </a:lnTo>
                <a:lnTo>
                  <a:pt x="432" y="2275"/>
                </a:lnTo>
                <a:lnTo>
                  <a:pt x="570" y="2275"/>
                </a:lnTo>
                <a:lnTo>
                  <a:pt x="575" y="2292"/>
                </a:lnTo>
                <a:lnTo>
                  <a:pt x="582" y="2309"/>
                </a:lnTo>
                <a:lnTo>
                  <a:pt x="590" y="2324"/>
                </a:lnTo>
                <a:lnTo>
                  <a:pt x="600" y="2338"/>
                </a:lnTo>
                <a:lnTo>
                  <a:pt x="611" y="2352"/>
                </a:lnTo>
                <a:lnTo>
                  <a:pt x="623" y="2365"/>
                </a:lnTo>
                <a:lnTo>
                  <a:pt x="635" y="2377"/>
                </a:lnTo>
                <a:lnTo>
                  <a:pt x="648" y="2388"/>
                </a:lnTo>
                <a:lnTo>
                  <a:pt x="662" y="2399"/>
                </a:lnTo>
                <a:lnTo>
                  <a:pt x="677" y="2407"/>
                </a:lnTo>
                <a:lnTo>
                  <a:pt x="694" y="2415"/>
                </a:lnTo>
                <a:lnTo>
                  <a:pt x="710" y="2421"/>
                </a:lnTo>
                <a:lnTo>
                  <a:pt x="727" y="2426"/>
                </a:lnTo>
                <a:lnTo>
                  <a:pt x="744" y="2430"/>
                </a:lnTo>
                <a:lnTo>
                  <a:pt x="762" y="2432"/>
                </a:lnTo>
                <a:lnTo>
                  <a:pt x="782" y="2433"/>
                </a:lnTo>
                <a:lnTo>
                  <a:pt x="793" y="2433"/>
                </a:lnTo>
                <a:lnTo>
                  <a:pt x="804" y="2432"/>
                </a:lnTo>
                <a:lnTo>
                  <a:pt x="815" y="2430"/>
                </a:lnTo>
                <a:lnTo>
                  <a:pt x="825" y="2429"/>
                </a:lnTo>
                <a:lnTo>
                  <a:pt x="836" y="2426"/>
                </a:lnTo>
                <a:lnTo>
                  <a:pt x="846" y="2423"/>
                </a:lnTo>
                <a:lnTo>
                  <a:pt x="856" y="2420"/>
                </a:lnTo>
                <a:lnTo>
                  <a:pt x="867" y="2416"/>
                </a:lnTo>
                <a:lnTo>
                  <a:pt x="877" y="2411"/>
                </a:lnTo>
                <a:lnTo>
                  <a:pt x="886" y="2407"/>
                </a:lnTo>
                <a:lnTo>
                  <a:pt x="896" y="2401"/>
                </a:lnTo>
                <a:lnTo>
                  <a:pt x="904" y="2396"/>
                </a:lnTo>
                <a:lnTo>
                  <a:pt x="921" y="2382"/>
                </a:lnTo>
                <a:lnTo>
                  <a:pt x="937" y="2368"/>
                </a:lnTo>
                <a:lnTo>
                  <a:pt x="952" y="2353"/>
                </a:lnTo>
                <a:lnTo>
                  <a:pt x="964" y="2336"/>
                </a:lnTo>
                <a:lnTo>
                  <a:pt x="970" y="2327"/>
                </a:lnTo>
                <a:lnTo>
                  <a:pt x="975" y="2318"/>
                </a:lnTo>
                <a:lnTo>
                  <a:pt x="980" y="2308"/>
                </a:lnTo>
                <a:lnTo>
                  <a:pt x="984" y="2298"/>
                </a:lnTo>
                <a:lnTo>
                  <a:pt x="988" y="2288"/>
                </a:lnTo>
                <a:lnTo>
                  <a:pt x="992" y="2278"/>
                </a:lnTo>
                <a:lnTo>
                  <a:pt x="995" y="2267"/>
                </a:lnTo>
                <a:lnTo>
                  <a:pt x="997" y="2257"/>
                </a:lnTo>
                <a:lnTo>
                  <a:pt x="999" y="2246"/>
                </a:lnTo>
                <a:lnTo>
                  <a:pt x="1000" y="2235"/>
                </a:lnTo>
                <a:lnTo>
                  <a:pt x="1001" y="2224"/>
                </a:lnTo>
                <a:lnTo>
                  <a:pt x="1002" y="2212"/>
                </a:lnTo>
                <a:lnTo>
                  <a:pt x="1001" y="2192"/>
                </a:lnTo>
                <a:lnTo>
                  <a:pt x="998" y="2172"/>
                </a:lnTo>
                <a:lnTo>
                  <a:pt x="993" y="2152"/>
                </a:lnTo>
                <a:lnTo>
                  <a:pt x="987" y="2133"/>
                </a:lnTo>
                <a:lnTo>
                  <a:pt x="1257" y="1863"/>
                </a:lnTo>
                <a:close/>
                <a:moveTo>
                  <a:pt x="1305" y="1570"/>
                </a:moveTo>
                <a:lnTo>
                  <a:pt x="1313" y="1570"/>
                </a:lnTo>
                <a:lnTo>
                  <a:pt x="1321" y="1571"/>
                </a:lnTo>
                <a:lnTo>
                  <a:pt x="1328" y="1573"/>
                </a:lnTo>
                <a:lnTo>
                  <a:pt x="1335" y="1576"/>
                </a:lnTo>
                <a:lnTo>
                  <a:pt x="1342" y="1579"/>
                </a:lnTo>
                <a:lnTo>
                  <a:pt x="1349" y="1583"/>
                </a:lnTo>
                <a:lnTo>
                  <a:pt x="1355" y="1587"/>
                </a:lnTo>
                <a:lnTo>
                  <a:pt x="1360" y="1592"/>
                </a:lnTo>
                <a:lnTo>
                  <a:pt x="1365" y="1598"/>
                </a:lnTo>
                <a:lnTo>
                  <a:pt x="1370" y="1604"/>
                </a:lnTo>
                <a:lnTo>
                  <a:pt x="1374" y="1610"/>
                </a:lnTo>
                <a:lnTo>
                  <a:pt x="1378" y="1617"/>
                </a:lnTo>
                <a:lnTo>
                  <a:pt x="1380" y="1625"/>
                </a:lnTo>
                <a:lnTo>
                  <a:pt x="1382" y="1633"/>
                </a:lnTo>
                <a:lnTo>
                  <a:pt x="1384" y="1640"/>
                </a:lnTo>
                <a:lnTo>
                  <a:pt x="1384" y="1648"/>
                </a:lnTo>
                <a:lnTo>
                  <a:pt x="1384" y="1656"/>
                </a:lnTo>
                <a:lnTo>
                  <a:pt x="1382" y="1664"/>
                </a:lnTo>
                <a:lnTo>
                  <a:pt x="1380" y="1671"/>
                </a:lnTo>
                <a:lnTo>
                  <a:pt x="1378" y="1678"/>
                </a:lnTo>
                <a:lnTo>
                  <a:pt x="1374" y="1685"/>
                </a:lnTo>
                <a:lnTo>
                  <a:pt x="1370" y="1692"/>
                </a:lnTo>
                <a:lnTo>
                  <a:pt x="1365" y="1698"/>
                </a:lnTo>
                <a:lnTo>
                  <a:pt x="1360" y="1703"/>
                </a:lnTo>
                <a:lnTo>
                  <a:pt x="1355" y="1708"/>
                </a:lnTo>
                <a:lnTo>
                  <a:pt x="1349" y="1713"/>
                </a:lnTo>
                <a:lnTo>
                  <a:pt x="1342" y="1717"/>
                </a:lnTo>
                <a:lnTo>
                  <a:pt x="1335" y="1721"/>
                </a:lnTo>
                <a:lnTo>
                  <a:pt x="1328" y="1723"/>
                </a:lnTo>
                <a:lnTo>
                  <a:pt x="1321" y="1725"/>
                </a:lnTo>
                <a:lnTo>
                  <a:pt x="1313" y="1726"/>
                </a:lnTo>
                <a:lnTo>
                  <a:pt x="1305" y="1727"/>
                </a:lnTo>
                <a:lnTo>
                  <a:pt x="1297" y="1726"/>
                </a:lnTo>
                <a:lnTo>
                  <a:pt x="1290" y="1725"/>
                </a:lnTo>
                <a:lnTo>
                  <a:pt x="1281" y="1723"/>
                </a:lnTo>
                <a:lnTo>
                  <a:pt x="1274" y="1721"/>
                </a:lnTo>
                <a:lnTo>
                  <a:pt x="1267" y="1717"/>
                </a:lnTo>
                <a:lnTo>
                  <a:pt x="1261" y="1713"/>
                </a:lnTo>
                <a:lnTo>
                  <a:pt x="1255" y="1708"/>
                </a:lnTo>
                <a:lnTo>
                  <a:pt x="1249" y="1703"/>
                </a:lnTo>
                <a:lnTo>
                  <a:pt x="1244" y="1698"/>
                </a:lnTo>
                <a:lnTo>
                  <a:pt x="1240" y="1692"/>
                </a:lnTo>
                <a:lnTo>
                  <a:pt x="1236" y="1685"/>
                </a:lnTo>
                <a:lnTo>
                  <a:pt x="1233" y="1678"/>
                </a:lnTo>
                <a:lnTo>
                  <a:pt x="1230" y="1671"/>
                </a:lnTo>
                <a:lnTo>
                  <a:pt x="1228" y="1664"/>
                </a:lnTo>
                <a:lnTo>
                  <a:pt x="1227" y="1656"/>
                </a:lnTo>
                <a:lnTo>
                  <a:pt x="1227" y="1648"/>
                </a:lnTo>
                <a:lnTo>
                  <a:pt x="1227" y="1640"/>
                </a:lnTo>
                <a:lnTo>
                  <a:pt x="1228" y="1633"/>
                </a:lnTo>
                <a:lnTo>
                  <a:pt x="1230" y="1625"/>
                </a:lnTo>
                <a:lnTo>
                  <a:pt x="1233" y="1617"/>
                </a:lnTo>
                <a:lnTo>
                  <a:pt x="1236" y="1610"/>
                </a:lnTo>
                <a:lnTo>
                  <a:pt x="1240" y="1604"/>
                </a:lnTo>
                <a:lnTo>
                  <a:pt x="1244" y="1598"/>
                </a:lnTo>
                <a:lnTo>
                  <a:pt x="1249" y="1592"/>
                </a:lnTo>
                <a:lnTo>
                  <a:pt x="1255" y="1587"/>
                </a:lnTo>
                <a:lnTo>
                  <a:pt x="1261" y="1583"/>
                </a:lnTo>
                <a:lnTo>
                  <a:pt x="1267" y="1579"/>
                </a:lnTo>
                <a:lnTo>
                  <a:pt x="1274" y="1576"/>
                </a:lnTo>
                <a:lnTo>
                  <a:pt x="1281" y="1573"/>
                </a:lnTo>
                <a:lnTo>
                  <a:pt x="1290" y="1571"/>
                </a:lnTo>
                <a:lnTo>
                  <a:pt x="1297" y="1570"/>
                </a:lnTo>
                <a:lnTo>
                  <a:pt x="1305" y="1570"/>
                </a:lnTo>
                <a:close/>
                <a:moveTo>
                  <a:pt x="220" y="2291"/>
                </a:moveTo>
                <a:lnTo>
                  <a:pt x="212" y="2290"/>
                </a:lnTo>
                <a:lnTo>
                  <a:pt x="204" y="2289"/>
                </a:lnTo>
                <a:lnTo>
                  <a:pt x="197" y="2287"/>
                </a:lnTo>
                <a:lnTo>
                  <a:pt x="190" y="2285"/>
                </a:lnTo>
                <a:lnTo>
                  <a:pt x="183" y="2281"/>
                </a:lnTo>
                <a:lnTo>
                  <a:pt x="177" y="2277"/>
                </a:lnTo>
                <a:lnTo>
                  <a:pt x="171" y="2273"/>
                </a:lnTo>
                <a:lnTo>
                  <a:pt x="164" y="2268"/>
                </a:lnTo>
                <a:lnTo>
                  <a:pt x="159" y="2262"/>
                </a:lnTo>
                <a:lnTo>
                  <a:pt x="155" y="2256"/>
                </a:lnTo>
                <a:lnTo>
                  <a:pt x="151" y="2250"/>
                </a:lnTo>
                <a:lnTo>
                  <a:pt x="148" y="2243"/>
                </a:lnTo>
                <a:lnTo>
                  <a:pt x="145" y="2236"/>
                </a:lnTo>
                <a:lnTo>
                  <a:pt x="143" y="2229"/>
                </a:lnTo>
                <a:lnTo>
                  <a:pt x="142" y="2221"/>
                </a:lnTo>
                <a:lnTo>
                  <a:pt x="141" y="2212"/>
                </a:lnTo>
                <a:lnTo>
                  <a:pt x="142" y="2204"/>
                </a:lnTo>
                <a:lnTo>
                  <a:pt x="143" y="2196"/>
                </a:lnTo>
                <a:lnTo>
                  <a:pt x="145" y="2189"/>
                </a:lnTo>
                <a:lnTo>
                  <a:pt x="148" y="2182"/>
                </a:lnTo>
                <a:lnTo>
                  <a:pt x="151" y="2175"/>
                </a:lnTo>
                <a:lnTo>
                  <a:pt x="155" y="2169"/>
                </a:lnTo>
                <a:lnTo>
                  <a:pt x="159" y="2163"/>
                </a:lnTo>
                <a:lnTo>
                  <a:pt x="164" y="2157"/>
                </a:lnTo>
                <a:lnTo>
                  <a:pt x="171" y="2152"/>
                </a:lnTo>
                <a:lnTo>
                  <a:pt x="177" y="2148"/>
                </a:lnTo>
                <a:lnTo>
                  <a:pt x="183" y="2144"/>
                </a:lnTo>
                <a:lnTo>
                  <a:pt x="190" y="2141"/>
                </a:lnTo>
                <a:lnTo>
                  <a:pt x="197" y="2138"/>
                </a:lnTo>
                <a:lnTo>
                  <a:pt x="204" y="2136"/>
                </a:lnTo>
                <a:lnTo>
                  <a:pt x="212" y="2134"/>
                </a:lnTo>
                <a:lnTo>
                  <a:pt x="220" y="2133"/>
                </a:lnTo>
                <a:lnTo>
                  <a:pt x="228" y="2134"/>
                </a:lnTo>
                <a:lnTo>
                  <a:pt x="236" y="2136"/>
                </a:lnTo>
                <a:lnTo>
                  <a:pt x="243" y="2138"/>
                </a:lnTo>
                <a:lnTo>
                  <a:pt x="250" y="2141"/>
                </a:lnTo>
                <a:lnTo>
                  <a:pt x="258" y="2144"/>
                </a:lnTo>
                <a:lnTo>
                  <a:pt x="264" y="2148"/>
                </a:lnTo>
                <a:lnTo>
                  <a:pt x="270" y="2152"/>
                </a:lnTo>
                <a:lnTo>
                  <a:pt x="276" y="2157"/>
                </a:lnTo>
                <a:lnTo>
                  <a:pt x="281" y="2163"/>
                </a:lnTo>
                <a:lnTo>
                  <a:pt x="285" y="2169"/>
                </a:lnTo>
                <a:lnTo>
                  <a:pt x="289" y="2175"/>
                </a:lnTo>
                <a:lnTo>
                  <a:pt x="293" y="2182"/>
                </a:lnTo>
                <a:lnTo>
                  <a:pt x="295" y="2189"/>
                </a:lnTo>
                <a:lnTo>
                  <a:pt x="297" y="2196"/>
                </a:lnTo>
                <a:lnTo>
                  <a:pt x="298" y="2204"/>
                </a:lnTo>
                <a:lnTo>
                  <a:pt x="299" y="2212"/>
                </a:lnTo>
                <a:lnTo>
                  <a:pt x="298" y="2221"/>
                </a:lnTo>
                <a:lnTo>
                  <a:pt x="297" y="2229"/>
                </a:lnTo>
                <a:lnTo>
                  <a:pt x="295" y="2236"/>
                </a:lnTo>
                <a:lnTo>
                  <a:pt x="293" y="2243"/>
                </a:lnTo>
                <a:lnTo>
                  <a:pt x="289" y="2250"/>
                </a:lnTo>
                <a:lnTo>
                  <a:pt x="285" y="2256"/>
                </a:lnTo>
                <a:lnTo>
                  <a:pt x="281" y="2262"/>
                </a:lnTo>
                <a:lnTo>
                  <a:pt x="276" y="2268"/>
                </a:lnTo>
                <a:lnTo>
                  <a:pt x="270" y="2273"/>
                </a:lnTo>
                <a:lnTo>
                  <a:pt x="264" y="2277"/>
                </a:lnTo>
                <a:lnTo>
                  <a:pt x="258" y="2281"/>
                </a:lnTo>
                <a:lnTo>
                  <a:pt x="250" y="2285"/>
                </a:lnTo>
                <a:lnTo>
                  <a:pt x="243" y="2287"/>
                </a:lnTo>
                <a:lnTo>
                  <a:pt x="236" y="2289"/>
                </a:lnTo>
                <a:lnTo>
                  <a:pt x="228" y="2290"/>
                </a:lnTo>
                <a:lnTo>
                  <a:pt x="220" y="2291"/>
                </a:lnTo>
                <a:close/>
                <a:moveTo>
                  <a:pt x="236" y="927"/>
                </a:moveTo>
                <a:lnTo>
                  <a:pt x="228" y="927"/>
                </a:lnTo>
                <a:lnTo>
                  <a:pt x="221" y="925"/>
                </a:lnTo>
                <a:lnTo>
                  <a:pt x="213" y="924"/>
                </a:lnTo>
                <a:lnTo>
                  <a:pt x="206" y="921"/>
                </a:lnTo>
                <a:lnTo>
                  <a:pt x="199" y="918"/>
                </a:lnTo>
                <a:lnTo>
                  <a:pt x="193" y="914"/>
                </a:lnTo>
                <a:lnTo>
                  <a:pt x="187" y="909"/>
                </a:lnTo>
                <a:lnTo>
                  <a:pt x="181" y="904"/>
                </a:lnTo>
                <a:lnTo>
                  <a:pt x="176" y="899"/>
                </a:lnTo>
                <a:lnTo>
                  <a:pt x="172" y="893"/>
                </a:lnTo>
                <a:lnTo>
                  <a:pt x="167" y="886"/>
                </a:lnTo>
                <a:lnTo>
                  <a:pt x="164" y="880"/>
                </a:lnTo>
                <a:lnTo>
                  <a:pt x="161" y="873"/>
                </a:lnTo>
                <a:lnTo>
                  <a:pt x="159" y="865"/>
                </a:lnTo>
                <a:lnTo>
                  <a:pt x="158" y="856"/>
                </a:lnTo>
                <a:lnTo>
                  <a:pt x="158" y="848"/>
                </a:lnTo>
                <a:lnTo>
                  <a:pt x="158" y="841"/>
                </a:lnTo>
                <a:lnTo>
                  <a:pt x="159" y="833"/>
                </a:lnTo>
                <a:lnTo>
                  <a:pt x="161" y="825"/>
                </a:lnTo>
                <a:lnTo>
                  <a:pt x="164" y="818"/>
                </a:lnTo>
                <a:lnTo>
                  <a:pt x="167" y="812"/>
                </a:lnTo>
                <a:lnTo>
                  <a:pt x="172" y="805"/>
                </a:lnTo>
                <a:lnTo>
                  <a:pt x="176" y="799"/>
                </a:lnTo>
                <a:lnTo>
                  <a:pt x="181" y="794"/>
                </a:lnTo>
                <a:lnTo>
                  <a:pt x="187" y="789"/>
                </a:lnTo>
                <a:lnTo>
                  <a:pt x="193" y="784"/>
                </a:lnTo>
                <a:lnTo>
                  <a:pt x="199" y="780"/>
                </a:lnTo>
                <a:lnTo>
                  <a:pt x="206" y="777"/>
                </a:lnTo>
                <a:lnTo>
                  <a:pt x="213" y="774"/>
                </a:lnTo>
                <a:lnTo>
                  <a:pt x="221" y="772"/>
                </a:lnTo>
                <a:lnTo>
                  <a:pt x="228" y="770"/>
                </a:lnTo>
                <a:lnTo>
                  <a:pt x="236" y="770"/>
                </a:lnTo>
                <a:lnTo>
                  <a:pt x="244" y="770"/>
                </a:lnTo>
                <a:lnTo>
                  <a:pt x="252" y="772"/>
                </a:lnTo>
                <a:lnTo>
                  <a:pt x="260" y="774"/>
                </a:lnTo>
                <a:lnTo>
                  <a:pt x="267" y="777"/>
                </a:lnTo>
                <a:lnTo>
                  <a:pt x="274" y="780"/>
                </a:lnTo>
                <a:lnTo>
                  <a:pt x="281" y="784"/>
                </a:lnTo>
                <a:lnTo>
                  <a:pt x="287" y="789"/>
                </a:lnTo>
                <a:lnTo>
                  <a:pt x="292" y="794"/>
                </a:lnTo>
                <a:lnTo>
                  <a:pt x="297" y="799"/>
                </a:lnTo>
                <a:lnTo>
                  <a:pt x="302" y="805"/>
                </a:lnTo>
                <a:lnTo>
                  <a:pt x="306" y="812"/>
                </a:lnTo>
                <a:lnTo>
                  <a:pt x="309" y="818"/>
                </a:lnTo>
                <a:lnTo>
                  <a:pt x="311" y="825"/>
                </a:lnTo>
                <a:lnTo>
                  <a:pt x="313" y="833"/>
                </a:lnTo>
                <a:lnTo>
                  <a:pt x="314" y="841"/>
                </a:lnTo>
                <a:lnTo>
                  <a:pt x="315" y="848"/>
                </a:lnTo>
                <a:lnTo>
                  <a:pt x="314" y="856"/>
                </a:lnTo>
                <a:lnTo>
                  <a:pt x="313" y="865"/>
                </a:lnTo>
                <a:lnTo>
                  <a:pt x="311" y="873"/>
                </a:lnTo>
                <a:lnTo>
                  <a:pt x="309" y="880"/>
                </a:lnTo>
                <a:lnTo>
                  <a:pt x="306" y="886"/>
                </a:lnTo>
                <a:lnTo>
                  <a:pt x="302" y="893"/>
                </a:lnTo>
                <a:lnTo>
                  <a:pt x="297" y="899"/>
                </a:lnTo>
                <a:lnTo>
                  <a:pt x="292" y="904"/>
                </a:lnTo>
                <a:lnTo>
                  <a:pt x="287" y="909"/>
                </a:lnTo>
                <a:lnTo>
                  <a:pt x="281" y="914"/>
                </a:lnTo>
                <a:lnTo>
                  <a:pt x="274" y="918"/>
                </a:lnTo>
                <a:lnTo>
                  <a:pt x="267" y="921"/>
                </a:lnTo>
                <a:lnTo>
                  <a:pt x="260" y="924"/>
                </a:lnTo>
                <a:lnTo>
                  <a:pt x="252" y="925"/>
                </a:lnTo>
                <a:lnTo>
                  <a:pt x="244" y="927"/>
                </a:lnTo>
                <a:lnTo>
                  <a:pt x="236" y="927"/>
                </a:lnTo>
                <a:close/>
                <a:moveTo>
                  <a:pt x="782" y="2291"/>
                </a:moveTo>
                <a:lnTo>
                  <a:pt x="774" y="2290"/>
                </a:lnTo>
                <a:lnTo>
                  <a:pt x="765" y="2289"/>
                </a:lnTo>
                <a:lnTo>
                  <a:pt x="758" y="2287"/>
                </a:lnTo>
                <a:lnTo>
                  <a:pt x="750" y="2285"/>
                </a:lnTo>
                <a:lnTo>
                  <a:pt x="744" y="2281"/>
                </a:lnTo>
                <a:lnTo>
                  <a:pt x="737" y="2277"/>
                </a:lnTo>
                <a:lnTo>
                  <a:pt x="731" y="2273"/>
                </a:lnTo>
                <a:lnTo>
                  <a:pt x="726" y="2268"/>
                </a:lnTo>
                <a:lnTo>
                  <a:pt x="721" y="2262"/>
                </a:lnTo>
                <a:lnTo>
                  <a:pt x="716" y="2256"/>
                </a:lnTo>
                <a:lnTo>
                  <a:pt x="712" y="2250"/>
                </a:lnTo>
                <a:lnTo>
                  <a:pt x="709" y="2243"/>
                </a:lnTo>
                <a:lnTo>
                  <a:pt x="707" y="2236"/>
                </a:lnTo>
                <a:lnTo>
                  <a:pt x="705" y="2229"/>
                </a:lnTo>
                <a:lnTo>
                  <a:pt x="703" y="2221"/>
                </a:lnTo>
                <a:lnTo>
                  <a:pt x="703" y="2212"/>
                </a:lnTo>
                <a:lnTo>
                  <a:pt x="703" y="2204"/>
                </a:lnTo>
                <a:lnTo>
                  <a:pt x="705" y="2196"/>
                </a:lnTo>
                <a:lnTo>
                  <a:pt x="707" y="2189"/>
                </a:lnTo>
                <a:lnTo>
                  <a:pt x="709" y="2182"/>
                </a:lnTo>
                <a:lnTo>
                  <a:pt x="712" y="2175"/>
                </a:lnTo>
                <a:lnTo>
                  <a:pt x="716" y="2169"/>
                </a:lnTo>
                <a:lnTo>
                  <a:pt x="721" y="2163"/>
                </a:lnTo>
                <a:lnTo>
                  <a:pt x="726" y="2157"/>
                </a:lnTo>
                <a:lnTo>
                  <a:pt x="731" y="2152"/>
                </a:lnTo>
                <a:lnTo>
                  <a:pt x="737" y="2148"/>
                </a:lnTo>
                <a:lnTo>
                  <a:pt x="744" y="2144"/>
                </a:lnTo>
                <a:lnTo>
                  <a:pt x="750" y="2141"/>
                </a:lnTo>
                <a:lnTo>
                  <a:pt x="758" y="2138"/>
                </a:lnTo>
                <a:lnTo>
                  <a:pt x="765" y="2136"/>
                </a:lnTo>
                <a:lnTo>
                  <a:pt x="774" y="2134"/>
                </a:lnTo>
                <a:lnTo>
                  <a:pt x="782" y="2133"/>
                </a:lnTo>
                <a:lnTo>
                  <a:pt x="790" y="2134"/>
                </a:lnTo>
                <a:lnTo>
                  <a:pt x="797" y="2136"/>
                </a:lnTo>
                <a:lnTo>
                  <a:pt x="805" y="2138"/>
                </a:lnTo>
                <a:lnTo>
                  <a:pt x="812" y="2141"/>
                </a:lnTo>
                <a:lnTo>
                  <a:pt x="819" y="2144"/>
                </a:lnTo>
                <a:lnTo>
                  <a:pt x="825" y="2148"/>
                </a:lnTo>
                <a:lnTo>
                  <a:pt x="831" y="2152"/>
                </a:lnTo>
                <a:lnTo>
                  <a:pt x="836" y="2157"/>
                </a:lnTo>
                <a:lnTo>
                  <a:pt x="841" y="2163"/>
                </a:lnTo>
                <a:lnTo>
                  <a:pt x="846" y="2169"/>
                </a:lnTo>
                <a:lnTo>
                  <a:pt x="850" y="2175"/>
                </a:lnTo>
                <a:lnTo>
                  <a:pt x="853" y="2182"/>
                </a:lnTo>
                <a:lnTo>
                  <a:pt x="856" y="2189"/>
                </a:lnTo>
                <a:lnTo>
                  <a:pt x="858" y="2196"/>
                </a:lnTo>
                <a:lnTo>
                  <a:pt x="860" y="2204"/>
                </a:lnTo>
                <a:lnTo>
                  <a:pt x="860" y="2212"/>
                </a:lnTo>
                <a:lnTo>
                  <a:pt x="860" y="2221"/>
                </a:lnTo>
                <a:lnTo>
                  <a:pt x="858" y="2229"/>
                </a:lnTo>
                <a:lnTo>
                  <a:pt x="856" y="2236"/>
                </a:lnTo>
                <a:lnTo>
                  <a:pt x="853" y="2243"/>
                </a:lnTo>
                <a:lnTo>
                  <a:pt x="850" y="2250"/>
                </a:lnTo>
                <a:lnTo>
                  <a:pt x="846" y="2256"/>
                </a:lnTo>
                <a:lnTo>
                  <a:pt x="841" y="2262"/>
                </a:lnTo>
                <a:lnTo>
                  <a:pt x="836" y="2268"/>
                </a:lnTo>
                <a:lnTo>
                  <a:pt x="831" y="2273"/>
                </a:lnTo>
                <a:lnTo>
                  <a:pt x="825" y="2277"/>
                </a:lnTo>
                <a:lnTo>
                  <a:pt x="819" y="2281"/>
                </a:lnTo>
                <a:lnTo>
                  <a:pt x="812" y="2285"/>
                </a:lnTo>
                <a:lnTo>
                  <a:pt x="805" y="2287"/>
                </a:lnTo>
                <a:lnTo>
                  <a:pt x="797" y="2289"/>
                </a:lnTo>
                <a:lnTo>
                  <a:pt x="790" y="2290"/>
                </a:lnTo>
                <a:lnTo>
                  <a:pt x="782" y="2291"/>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867" dirty="0"/>
          </a:p>
        </p:txBody>
      </p:sp>
      <p:sp>
        <p:nvSpPr>
          <p:cNvPr id="14" name="Freeform 29"/>
          <p:cNvSpPr>
            <a:spLocks noEditPoints="1"/>
          </p:cNvSpPr>
          <p:nvPr/>
        </p:nvSpPr>
        <p:spPr bwMode="auto">
          <a:xfrm>
            <a:off x="2601054" y="5418247"/>
            <a:ext cx="518865" cy="625268"/>
          </a:xfrm>
          <a:custGeom>
            <a:avLst/>
            <a:gdLst>
              <a:gd name="T0" fmla="*/ 1461 w 1700"/>
              <a:gd name="T1" fmla="*/ 1560 h 2102"/>
              <a:gd name="T2" fmla="*/ 1129 w 1700"/>
              <a:gd name="T3" fmla="*/ 1618 h 2102"/>
              <a:gd name="T4" fmla="*/ 685 w 1700"/>
              <a:gd name="T5" fmla="*/ 1626 h 2102"/>
              <a:gd name="T6" fmla="*/ 320 w 1700"/>
              <a:gd name="T7" fmla="*/ 1580 h 2102"/>
              <a:gd name="T8" fmla="*/ 47 w 1700"/>
              <a:gd name="T9" fmla="*/ 1483 h 2102"/>
              <a:gd name="T10" fmla="*/ 7 w 1700"/>
              <a:gd name="T11" fmla="*/ 1859 h 2102"/>
              <a:gd name="T12" fmla="*/ 134 w 1700"/>
              <a:gd name="T13" fmla="*/ 1984 h 2102"/>
              <a:gd name="T14" fmla="*/ 374 w 1700"/>
              <a:gd name="T15" fmla="*/ 2059 h 2102"/>
              <a:gd name="T16" fmla="*/ 723 w 1700"/>
              <a:gd name="T17" fmla="*/ 2099 h 2102"/>
              <a:gd name="T18" fmla="*/ 1187 w 1700"/>
              <a:gd name="T19" fmla="*/ 2082 h 2102"/>
              <a:gd name="T20" fmla="*/ 1456 w 1700"/>
              <a:gd name="T21" fmla="*/ 2027 h 2102"/>
              <a:gd name="T22" fmla="*/ 1649 w 1700"/>
              <a:gd name="T23" fmla="*/ 1928 h 2102"/>
              <a:gd name="T24" fmla="*/ 1700 w 1700"/>
              <a:gd name="T25" fmla="*/ 1456 h 2102"/>
              <a:gd name="T26" fmla="*/ 1567 w 1700"/>
              <a:gd name="T27" fmla="*/ 935 h 2102"/>
              <a:gd name="T28" fmla="*/ 1252 w 1700"/>
              <a:gd name="T29" fmla="*/ 1014 h 2102"/>
              <a:gd name="T30" fmla="*/ 850 w 1700"/>
              <a:gd name="T31" fmla="*/ 1043 h 2102"/>
              <a:gd name="T32" fmla="*/ 449 w 1700"/>
              <a:gd name="T33" fmla="*/ 1014 h 2102"/>
              <a:gd name="T34" fmla="*/ 134 w 1700"/>
              <a:gd name="T35" fmla="*/ 935 h 2102"/>
              <a:gd name="T36" fmla="*/ 0 w 1700"/>
              <a:gd name="T37" fmla="*/ 873 h 2102"/>
              <a:gd name="T38" fmla="*/ 28 w 1700"/>
              <a:gd name="T39" fmla="*/ 1313 h 2102"/>
              <a:gd name="T40" fmla="*/ 144 w 1700"/>
              <a:gd name="T41" fmla="*/ 1400 h 2102"/>
              <a:gd name="T42" fmla="*/ 361 w 1700"/>
              <a:gd name="T43" fmla="*/ 1468 h 2102"/>
              <a:gd name="T44" fmla="*/ 802 w 1700"/>
              <a:gd name="T45" fmla="*/ 1513 h 2102"/>
              <a:gd name="T46" fmla="*/ 1230 w 1700"/>
              <a:gd name="T47" fmla="*/ 1487 h 2102"/>
              <a:gd name="T48" fmla="*/ 1514 w 1700"/>
              <a:gd name="T49" fmla="*/ 1418 h 2102"/>
              <a:gd name="T50" fmla="*/ 1653 w 1700"/>
              <a:gd name="T51" fmla="*/ 1335 h 2102"/>
              <a:gd name="T52" fmla="*/ 1700 w 1700"/>
              <a:gd name="T53" fmla="*/ 1236 h 2102"/>
              <a:gd name="T54" fmla="*/ 789 w 1700"/>
              <a:gd name="T55" fmla="*/ 1 h 2102"/>
              <a:gd name="T56" fmla="*/ 408 w 1700"/>
              <a:gd name="T57" fmla="*/ 37 h 2102"/>
              <a:gd name="T58" fmla="*/ 159 w 1700"/>
              <a:gd name="T59" fmla="*/ 108 h 2102"/>
              <a:gd name="T60" fmla="*/ 14 w 1700"/>
              <a:gd name="T61" fmla="*/ 225 h 2102"/>
              <a:gd name="T62" fmla="*/ 7 w 1700"/>
              <a:gd name="T63" fmla="*/ 683 h 2102"/>
              <a:gd name="T64" fmla="*/ 89 w 1700"/>
              <a:gd name="T65" fmla="*/ 780 h 2102"/>
              <a:gd name="T66" fmla="*/ 256 w 1700"/>
              <a:gd name="T67" fmla="*/ 853 h 2102"/>
              <a:gd name="T68" fmla="*/ 641 w 1700"/>
              <a:gd name="T69" fmla="*/ 917 h 2102"/>
              <a:gd name="T70" fmla="*/ 1060 w 1700"/>
              <a:gd name="T71" fmla="*/ 917 h 2102"/>
              <a:gd name="T72" fmla="*/ 1443 w 1700"/>
              <a:gd name="T73" fmla="*/ 853 h 2102"/>
              <a:gd name="T74" fmla="*/ 1611 w 1700"/>
              <a:gd name="T75" fmla="*/ 780 h 2102"/>
              <a:gd name="T76" fmla="*/ 1693 w 1700"/>
              <a:gd name="T77" fmla="*/ 683 h 2102"/>
              <a:gd name="T78" fmla="*/ 1686 w 1700"/>
              <a:gd name="T79" fmla="*/ 225 h 2102"/>
              <a:gd name="T80" fmla="*/ 1541 w 1700"/>
              <a:gd name="T81" fmla="*/ 108 h 2102"/>
              <a:gd name="T82" fmla="*/ 1292 w 1700"/>
              <a:gd name="T83" fmla="*/ 37 h 2102"/>
              <a:gd name="T84" fmla="*/ 912 w 1700"/>
              <a:gd name="T85" fmla="*/ 1 h 2102"/>
              <a:gd name="T86" fmla="*/ 569 w 1700"/>
              <a:gd name="T87" fmla="*/ 432 h 2102"/>
              <a:gd name="T88" fmla="*/ 338 w 1700"/>
              <a:gd name="T89" fmla="*/ 391 h 2102"/>
              <a:gd name="T90" fmla="*/ 184 w 1700"/>
              <a:gd name="T91" fmla="*/ 328 h 2102"/>
              <a:gd name="T92" fmla="*/ 127 w 1700"/>
              <a:gd name="T93" fmla="*/ 251 h 2102"/>
              <a:gd name="T94" fmla="*/ 184 w 1700"/>
              <a:gd name="T95" fmla="*/ 174 h 2102"/>
              <a:gd name="T96" fmla="*/ 338 w 1700"/>
              <a:gd name="T97" fmla="*/ 112 h 2102"/>
              <a:gd name="T98" fmla="*/ 569 w 1700"/>
              <a:gd name="T99" fmla="*/ 69 h 2102"/>
              <a:gd name="T100" fmla="*/ 924 w 1700"/>
              <a:gd name="T101" fmla="*/ 55 h 2102"/>
              <a:gd name="T102" fmla="*/ 1255 w 1700"/>
              <a:gd name="T103" fmla="*/ 87 h 2102"/>
              <a:gd name="T104" fmla="*/ 1450 w 1700"/>
              <a:gd name="T105" fmla="*/ 141 h 2102"/>
              <a:gd name="T106" fmla="*/ 1559 w 1700"/>
              <a:gd name="T107" fmla="*/ 211 h 2102"/>
              <a:gd name="T108" fmla="*/ 1559 w 1700"/>
              <a:gd name="T109" fmla="*/ 291 h 2102"/>
              <a:gd name="T110" fmla="*/ 1450 w 1700"/>
              <a:gd name="T111" fmla="*/ 362 h 2102"/>
              <a:gd name="T112" fmla="*/ 1255 w 1700"/>
              <a:gd name="T113" fmla="*/ 414 h 2102"/>
              <a:gd name="T114" fmla="*/ 924 w 1700"/>
              <a:gd name="T115" fmla="*/ 448 h 2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00" h="2102">
                <a:moveTo>
                  <a:pt x="1678" y="1467"/>
                </a:moveTo>
                <a:lnTo>
                  <a:pt x="1653" y="1483"/>
                </a:lnTo>
                <a:lnTo>
                  <a:pt x="1626" y="1497"/>
                </a:lnTo>
                <a:lnTo>
                  <a:pt x="1597" y="1511"/>
                </a:lnTo>
                <a:lnTo>
                  <a:pt x="1567" y="1524"/>
                </a:lnTo>
                <a:lnTo>
                  <a:pt x="1533" y="1537"/>
                </a:lnTo>
                <a:lnTo>
                  <a:pt x="1498" y="1549"/>
                </a:lnTo>
                <a:lnTo>
                  <a:pt x="1461" y="1560"/>
                </a:lnTo>
                <a:lnTo>
                  <a:pt x="1422" y="1571"/>
                </a:lnTo>
                <a:lnTo>
                  <a:pt x="1379" y="1580"/>
                </a:lnTo>
                <a:lnTo>
                  <a:pt x="1337" y="1589"/>
                </a:lnTo>
                <a:lnTo>
                  <a:pt x="1294" y="1597"/>
                </a:lnTo>
                <a:lnTo>
                  <a:pt x="1252" y="1603"/>
                </a:lnTo>
                <a:lnTo>
                  <a:pt x="1211" y="1609"/>
                </a:lnTo>
                <a:lnTo>
                  <a:pt x="1169" y="1614"/>
                </a:lnTo>
                <a:lnTo>
                  <a:pt x="1129" y="1618"/>
                </a:lnTo>
                <a:lnTo>
                  <a:pt x="1089" y="1621"/>
                </a:lnTo>
                <a:lnTo>
                  <a:pt x="1015" y="1626"/>
                </a:lnTo>
                <a:lnTo>
                  <a:pt x="949" y="1629"/>
                </a:lnTo>
                <a:lnTo>
                  <a:pt x="894" y="1631"/>
                </a:lnTo>
                <a:lnTo>
                  <a:pt x="850" y="1631"/>
                </a:lnTo>
                <a:lnTo>
                  <a:pt x="807" y="1631"/>
                </a:lnTo>
                <a:lnTo>
                  <a:pt x="751" y="1629"/>
                </a:lnTo>
                <a:lnTo>
                  <a:pt x="685" y="1626"/>
                </a:lnTo>
                <a:lnTo>
                  <a:pt x="612" y="1621"/>
                </a:lnTo>
                <a:lnTo>
                  <a:pt x="572" y="1618"/>
                </a:lnTo>
                <a:lnTo>
                  <a:pt x="532" y="1614"/>
                </a:lnTo>
                <a:lnTo>
                  <a:pt x="490" y="1609"/>
                </a:lnTo>
                <a:lnTo>
                  <a:pt x="449" y="1603"/>
                </a:lnTo>
                <a:lnTo>
                  <a:pt x="406" y="1597"/>
                </a:lnTo>
                <a:lnTo>
                  <a:pt x="363" y="1589"/>
                </a:lnTo>
                <a:lnTo>
                  <a:pt x="320" y="1580"/>
                </a:lnTo>
                <a:lnTo>
                  <a:pt x="279" y="1571"/>
                </a:lnTo>
                <a:lnTo>
                  <a:pt x="239" y="1560"/>
                </a:lnTo>
                <a:lnTo>
                  <a:pt x="202" y="1549"/>
                </a:lnTo>
                <a:lnTo>
                  <a:pt x="167" y="1537"/>
                </a:lnTo>
                <a:lnTo>
                  <a:pt x="134" y="1524"/>
                </a:lnTo>
                <a:lnTo>
                  <a:pt x="103" y="1511"/>
                </a:lnTo>
                <a:lnTo>
                  <a:pt x="74" y="1497"/>
                </a:lnTo>
                <a:lnTo>
                  <a:pt x="47" y="1483"/>
                </a:lnTo>
                <a:lnTo>
                  <a:pt x="23" y="1467"/>
                </a:lnTo>
                <a:lnTo>
                  <a:pt x="12" y="1459"/>
                </a:lnTo>
                <a:lnTo>
                  <a:pt x="0" y="1451"/>
                </a:lnTo>
                <a:lnTo>
                  <a:pt x="0" y="1456"/>
                </a:lnTo>
                <a:lnTo>
                  <a:pt x="0" y="1461"/>
                </a:lnTo>
                <a:lnTo>
                  <a:pt x="0" y="1819"/>
                </a:lnTo>
                <a:lnTo>
                  <a:pt x="1" y="1840"/>
                </a:lnTo>
                <a:lnTo>
                  <a:pt x="7" y="1859"/>
                </a:lnTo>
                <a:lnTo>
                  <a:pt x="14" y="1877"/>
                </a:lnTo>
                <a:lnTo>
                  <a:pt x="24" y="1896"/>
                </a:lnTo>
                <a:lnTo>
                  <a:pt x="37" y="1913"/>
                </a:lnTo>
                <a:lnTo>
                  <a:pt x="52" y="1928"/>
                </a:lnTo>
                <a:lnTo>
                  <a:pt x="69" y="1943"/>
                </a:lnTo>
                <a:lnTo>
                  <a:pt x="88" y="1957"/>
                </a:lnTo>
                <a:lnTo>
                  <a:pt x="111" y="1971"/>
                </a:lnTo>
                <a:lnTo>
                  <a:pt x="134" y="1984"/>
                </a:lnTo>
                <a:lnTo>
                  <a:pt x="159" y="1996"/>
                </a:lnTo>
                <a:lnTo>
                  <a:pt x="186" y="2007"/>
                </a:lnTo>
                <a:lnTo>
                  <a:pt x="214" y="2017"/>
                </a:lnTo>
                <a:lnTo>
                  <a:pt x="244" y="2027"/>
                </a:lnTo>
                <a:lnTo>
                  <a:pt x="275" y="2036"/>
                </a:lnTo>
                <a:lnTo>
                  <a:pt x="307" y="2044"/>
                </a:lnTo>
                <a:lnTo>
                  <a:pt x="339" y="2052"/>
                </a:lnTo>
                <a:lnTo>
                  <a:pt x="374" y="2059"/>
                </a:lnTo>
                <a:lnTo>
                  <a:pt x="408" y="2066"/>
                </a:lnTo>
                <a:lnTo>
                  <a:pt x="443" y="2072"/>
                </a:lnTo>
                <a:lnTo>
                  <a:pt x="478" y="2077"/>
                </a:lnTo>
                <a:lnTo>
                  <a:pt x="513" y="2082"/>
                </a:lnTo>
                <a:lnTo>
                  <a:pt x="549" y="2086"/>
                </a:lnTo>
                <a:lnTo>
                  <a:pt x="584" y="2090"/>
                </a:lnTo>
                <a:lnTo>
                  <a:pt x="654" y="2096"/>
                </a:lnTo>
                <a:lnTo>
                  <a:pt x="723" y="2099"/>
                </a:lnTo>
                <a:lnTo>
                  <a:pt x="789" y="2102"/>
                </a:lnTo>
                <a:lnTo>
                  <a:pt x="850" y="2102"/>
                </a:lnTo>
                <a:lnTo>
                  <a:pt x="912" y="2102"/>
                </a:lnTo>
                <a:lnTo>
                  <a:pt x="977" y="2099"/>
                </a:lnTo>
                <a:lnTo>
                  <a:pt x="1046" y="2096"/>
                </a:lnTo>
                <a:lnTo>
                  <a:pt x="1116" y="2090"/>
                </a:lnTo>
                <a:lnTo>
                  <a:pt x="1152" y="2086"/>
                </a:lnTo>
                <a:lnTo>
                  <a:pt x="1187" y="2082"/>
                </a:lnTo>
                <a:lnTo>
                  <a:pt x="1223" y="2077"/>
                </a:lnTo>
                <a:lnTo>
                  <a:pt x="1258" y="2072"/>
                </a:lnTo>
                <a:lnTo>
                  <a:pt x="1292" y="2066"/>
                </a:lnTo>
                <a:lnTo>
                  <a:pt x="1327" y="2059"/>
                </a:lnTo>
                <a:lnTo>
                  <a:pt x="1360" y="2052"/>
                </a:lnTo>
                <a:lnTo>
                  <a:pt x="1394" y="2044"/>
                </a:lnTo>
                <a:lnTo>
                  <a:pt x="1425" y="2036"/>
                </a:lnTo>
                <a:lnTo>
                  <a:pt x="1456" y="2027"/>
                </a:lnTo>
                <a:lnTo>
                  <a:pt x="1486" y="2017"/>
                </a:lnTo>
                <a:lnTo>
                  <a:pt x="1514" y="2007"/>
                </a:lnTo>
                <a:lnTo>
                  <a:pt x="1541" y="1996"/>
                </a:lnTo>
                <a:lnTo>
                  <a:pt x="1567" y="1984"/>
                </a:lnTo>
                <a:lnTo>
                  <a:pt x="1590" y="1971"/>
                </a:lnTo>
                <a:lnTo>
                  <a:pt x="1611" y="1957"/>
                </a:lnTo>
                <a:lnTo>
                  <a:pt x="1631" y="1943"/>
                </a:lnTo>
                <a:lnTo>
                  <a:pt x="1649" y="1928"/>
                </a:lnTo>
                <a:lnTo>
                  <a:pt x="1664" y="1913"/>
                </a:lnTo>
                <a:lnTo>
                  <a:pt x="1676" y="1896"/>
                </a:lnTo>
                <a:lnTo>
                  <a:pt x="1686" y="1877"/>
                </a:lnTo>
                <a:lnTo>
                  <a:pt x="1694" y="1859"/>
                </a:lnTo>
                <a:lnTo>
                  <a:pt x="1698" y="1840"/>
                </a:lnTo>
                <a:lnTo>
                  <a:pt x="1700" y="1819"/>
                </a:lnTo>
                <a:lnTo>
                  <a:pt x="1700" y="1461"/>
                </a:lnTo>
                <a:lnTo>
                  <a:pt x="1700" y="1456"/>
                </a:lnTo>
                <a:lnTo>
                  <a:pt x="1699" y="1451"/>
                </a:lnTo>
                <a:lnTo>
                  <a:pt x="1689" y="1459"/>
                </a:lnTo>
                <a:lnTo>
                  <a:pt x="1678" y="1467"/>
                </a:lnTo>
                <a:close/>
                <a:moveTo>
                  <a:pt x="1678" y="878"/>
                </a:moveTo>
                <a:lnTo>
                  <a:pt x="1653" y="894"/>
                </a:lnTo>
                <a:lnTo>
                  <a:pt x="1626" y="908"/>
                </a:lnTo>
                <a:lnTo>
                  <a:pt x="1597" y="922"/>
                </a:lnTo>
                <a:lnTo>
                  <a:pt x="1567" y="935"/>
                </a:lnTo>
                <a:lnTo>
                  <a:pt x="1533" y="948"/>
                </a:lnTo>
                <a:lnTo>
                  <a:pt x="1498" y="961"/>
                </a:lnTo>
                <a:lnTo>
                  <a:pt x="1461" y="972"/>
                </a:lnTo>
                <a:lnTo>
                  <a:pt x="1422" y="982"/>
                </a:lnTo>
                <a:lnTo>
                  <a:pt x="1379" y="992"/>
                </a:lnTo>
                <a:lnTo>
                  <a:pt x="1337" y="1000"/>
                </a:lnTo>
                <a:lnTo>
                  <a:pt x="1294" y="1008"/>
                </a:lnTo>
                <a:lnTo>
                  <a:pt x="1252" y="1014"/>
                </a:lnTo>
                <a:lnTo>
                  <a:pt x="1211" y="1020"/>
                </a:lnTo>
                <a:lnTo>
                  <a:pt x="1169" y="1025"/>
                </a:lnTo>
                <a:lnTo>
                  <a:pt x="1129" y="1029"/>
                </a:lnTo>
                <a:lnTo>
                  <a:pt x="1089" y="1033"/>
                </a:lnTo>
                <a:lnTo>
                  <a:pt x="1015" y="1038"/>
                </a:lnTo>
                <a:lnTo>
                  <a:pt x="949" y="1042"/>
                </a:lnTo>
                <a:lnTo>
                  <a:pt x="894" y="1043"/>
                </a:lnTo>
                <a:lnTo>
                  <a:pt x="850" y="1043"/>
                </a:lnTo>
                <a:lnTo>
                  <a:pt x="807" y="1043"/>
                </a:lnTo>
                <a:lnTo>
                  <a:pt x="751" y="1042"/>
                </a:lnTo>
                <a:lnTo>
                  <a:pt x="685" y="1038"/>
                </a:lnTo>
                <a:lnTo>
                  <a:pt x="612" y="1033"/>
                </a:lnTo>
                <a:lnTo>
                  <a:pt x="572" y="1029"/>
                </a:lnTo>
                <a:lnTo>
                  <a:pt x="532" y="1025"/>
                </a:lnTo>
                <a:lnTo>
                  <a:pt x="490" y="1020"/>
                </a:lnTo>
                <a:lnTo>
                  <a:pt x="449" y="1014"/>
                </a:lnTo>
                <a:lnTo>
                  <a:pt x="406" y="1008"/>
                </a:lnTo>
                <a:lnTo>
                  <a:pt x="363" y="1000"/>
                </a:lnTo>
                <a:lnTo>
                  <a:pt x="320" y="992"/>
                </a:lnTo>
                <a:lnTo>
                  <a:pt x="279" y="982"/>
                </a:lnTo>
                <a:lnTo>
                  <a:pt x="239" y="972"/>
                </a:lnTo>
                <a:lnTo>
                  <a:pt x="202" y="961"/>
                </a:lnTo>
                <a:lnTo>
                  <a:pt x="167" y="948"/>
                </a:lnTo>
                <a:lnTo>
                  <a:pt x="134" y="935"/>
                </a:lnTo>
                <a:lnTo>
                  <a:pt x="103" y="922"/>
                </a:lnTo>
                <a:lnTo>
                  <a:pt x="74" y="908"/>
                </a:lnTo>
                <a:lnTo>
                  <a:pt x="47" y="894"/>
                </a:lnTo>
                <a:lnTo>
                  <a:pt x="23" y="878"/>
                </a:lnTo>
                <a:lnTo>
                  <a:pt x="12" y="871"/>
                </a:lnTo>
                <a:lnTo>
                  <a:pt x="0" y="862"/>
                </a:lnTo>
                <a:lnTo>
                  <a:pt x="0" y="867"/>
                </a:lnTo>
                <a:lnTo>
                  <a:pt x="0" y="873"/>
                </a:lnTo>
                <a:lnTo>
                  <a:pt x="0" y="1231"/>
                </a:lnTo>
                <a:lnTo>
                  <a:pt x="0" y="1236"/>
                </a:lnTo>
                <a:lnTo>
                  <a:pt x="0" y="1241"/>
                </a:lnTo>
                <a:lnTo>
                  <a:pt x="2" y="1257"/>
                </a:lnTo>
                <a:lnTo>
                  <a:pt x="7" y="1272"/>
                </a:lnTo>
                <a:lnTo>
                  <a:pt x="13" y="1286"/>
                </a:lnTo>
                <a:lnTo>
                  <a:pt x="21" y="1301"/>
                </a:lnTo>
                <a:lnTo>
                  <a:pt x="28" y="1313"/>
                </a:lnTo>
                <a:lnTo>
                  <a:pt x="37" y="1324"/>
                </a:lnTo>
                <a:lnTo>
                  <a:pt x="47" y="1335"/>
                </a:lnTo>
                <a:lnTo>
                  <a:pt x="59" y="1346"/>
                </a:lnTo>
                <a:lnTo>
                  <a:pt x="73" y="1358"/>
                </a:lnTo>
                <a:lnTo>
                  <a:pt x="89" y="1369"/>
                </a:lnTo>
                <a:lnTo>
                  <a:pt x="107" y="1379"/>
                </a:lnTo>
                <a:lnTo>
                  <a:pt x="125" y="1391"/>
                </a:lnTo>
                <a:lnTo>
                  <a:pt x="144" y="1400"/>
                </a:lnTo>
                <a:lnTo>
                  <a:pt x="164" y="1410"/>
                </a:lnTo>
                <a:lnTo>
                  <a:pt x="187" y="1418"/>
                </a:lnTo>
                <a:lnTo>
                  <a:pt x="209" y="1427"/>
                </a:lnTo>
                <a:lnTo>
                  <a:pt x="232" y="1435"/>
                </a:lnTo>
                <a:lnTo>
                  <a:pt x="256" y="1442"/>
                </a:lnTo>
                <a:lnTo>
                  <a:pt x="282" y="1449"/>
                </a:lnTo>
                <a:lnTo>
                  <a:pt x="307" y="1456"/>
                </a:lnTo>
                <a:lnTo>
                  <a:pt x="361" y="1468"/>
                </a:lnTo>
                <a:lnTo>
                  <a:pt x="415" y="1479"/>
                </a:lnTo>
                <a:lnTo>
                  <a:pt x="471" y="1487"/>
                </a:lnTo>
                <a:lnTo>
                  <a:pt x="528" y="1495"/>
                </a:lnTo>
                <a:lnTo>
                  <a:pt x="584" y="1501"/>
                </a:lnTo>
                <a:lnTo>
                  <a:pt x="641" y="1506"/>
                </a:lnTo>
                <a:lnTo>
                  <a:pt x="696" y="1509"/>
                </a:lnTo>
                <a:lnTo>
                  <a:pt x="750" y="1512"/>
                </a:lnTo>
                <a:lnTo>
                  <a:pt x="802" y="1513"/>
                </a:lnTo>
                <a:lnTo>
                  <a:pt x="850" y="1514"/>
                </a:lnTo>
                <a:lnTo>
                  <a:pt x="899" y="1513"/>
                </a:lnTo>
                <a:lnTo>
                  <a:pt x="950" y="1512"/>
                </a:lnTo>
                <a:lnTo>
                  <a:pt x="1004" y="1509"/>
                </a:lnTo>
                <a:lnTo>
                  <a:pt x="1060" y="1506"/>
                </a:lnTo>
                <a:lnTo>
                  <a:pt x="1116" y="1501"/>
                </a:lnTo>
                <a:lnTo>
                  <a:pt x="1173" y="1495"/>
                </a:lnTo>
                <a:lnTo>
                  <a:pt x="1230" y="1487"/>
                </a:lnTo>
                <a:lnTo>
                  <a:pt x="1285" y="1479"/>
                </a:lnTo>
                <a:lnTo>
                  <a:pt x="1340" y="1468"/>
                </a:lnTo>
                <a:lnTo>
                  <a:pt x="1393" y="1456"/>
                </a:lnTo>
                <a:lnTo>
                  <a:pt x="1419" y="1449"/>
                </a:lnTo>
                <a:lnTo>
                  <a:pt x="1443" y="1442"/>
                </a:lnTo>
                <a:lnTo>
                  <a:pt x="1467" y="1435"/>
                </a:lnTo>
                <a:lnTo>
                  <a:pt x="1492" y="1427"/>
                </a:lnTo>
                <a:lnTo>
                  <a:pt x="1514" y="1418"/>
                </a:lnTo>
                <a:lnTo>
                  <a:pt x="1535" y="1410"/>
                </a:lnTo>
                <a:lnTo>
                  <a:pt x="1557" y="1400"/>
                </a:lnTo>
                <a:lnTo>
                  <a:pt x="1576" y="1391"/>
                </a:lnTo>
                <a:lnTo>
                  <a:pt x="1594" y="1379"/>
                </a:lnTo>
                <a:lnTo>
                  <a:pt x="1611" y="1369"/>
                </a:lnTo>
                <a:lnTo>
                  <a:pt x="1627" y="1358"/>
                </a:lnTo>
                <a:lnTo>
                  <a:pt x="1642" y="1346"/>
                </a:lnTo>
                <a:lnTo>
                  <a:pt x="1653" y="1335"/>
                </a:lnTo>
                <a:lnTo>
                  <a:pt x="1663" y="1324"/>
                </a:lnTo>
                <a:lnTo>
                  <a:pt x="1672" y="1313"/>
                </a:lnTo>
                <a:lnTo>
                  <a:pt x="1680" y="1301"/>
                </a:lnTo>
                <a:lnTo>
                  <a:pt x="1687" y="1286"/>
                </a:lnTo>
                <a:lnTo>
                  <a:pt x="1693" y="1272"/>
                </a:lnTo>
                <a:lnTo>
                  <a:pt x="1697" y="1257"/>
                </a:lnTo>
                <a:lnTo>
                  <a:pt x="1699" y="1241"/>
                </a:lnTo>
                <a:lnTo>
                  <a:pt x="1700" y="1236"/>
                </a:lnTo>
                <a:lnTo>
                  <a:pt x="1700" y="1231"/>
                </a:lnTo>
                <a:lnTo>
                  <a:pt x="1700" y="873"/>
                </a:lnTo>
                <a:lnTo>
                  <a:pt x="1700" y="867"/>
                </a:lnTo>
                <a:lnTo>
                  <a:pt x="1699" y="862"/>
                </a:lnTo>
                <a:lnTo>
                  <a:pt x="1689" y="871"/>
                </a:lnTo>
                <a:lnTo>
                  <a:pt x="1678" y="878"/>
                </a:lnTo>
                <a:close/>
                <a:moveTo>
                  <a:pt x="850" y="0"/>
                </a:moveTo>
                <a:lnTo>
                  <a:pt x="789" y="1"/>
                </a:lnTo>
                <a:lnTo>
                  <a:pt x="723" y="3"/>
                </a:lnTo>
                <a:lnTo>
                  <a:pt x="654" y="7"/>
                </a:lnTo>
                <a:lnTo>
                  <a:pt x="584" y="13"/>
                </a:lnTo>
                <a:lnTo>
                  <a:pt x="549" y="18"/>
                </a:lnTo>
                <a:lnTo>
                  <a:pt x="513" y="22"/>
                </a:lnTo>
                <a:lnTo>
                  <a:pt x="478" y="26"/>
                </a:lnTo>
                <a:lnTo>
                  <a:pt x="443" y="32"/>
                </a:lnTo>
                <a:lnTo>
                  <a:pt x="408" y="37"/>
                </a:lnTo>
                <a:lnTo>
                  <a:pt x="374" y="44"/>
                </a:lnTo>
                <a:lnTo>
                  <a:pt x="339" y="51"/>
                </a:lnTo>
                <a:lnTo>
                  <a:pt x="307" y="58"/>
                </a:lnTo>
                <a:lnTo>
                  <a:pt x="275" y="67"/>
                </a:lnTo>
                <a:lnTo>
                  <a:pt x="244" y="76"/>
                </a:lnTo>
                <a:lnTo>
                  <a:pt x="214" y="85"/>
                </a:lnTo>
                <a:lnTo>
                  <a:pt x="186" y="96"/>
                </a:lnTo>
                <a:lnTo>
                  <a:pt x="159" y="108"/>
                </a:lnTo>
                <a:lnTo>
                  <a:pt x="134" y="119"/>
                </a:lnTo>
                <a:lnTo>
                  <a:pt x="111" y="132"/>
                </a:lnTo>
                <a:lnTo>
                  <a:pt x="88" y="145"/>
                </a:lnTo>
                <a:lnTo>
                  <a:pt x="69" y="159"/>
                </a:lnTo>
                <a:lnTo>
                  <a:pt x="52" y="174"/>
                </a:lnTo>
                <a:lnTo>
                  <a:pt x="37" y="191"/>
                </a:lnTo>
                <a:lnTo>
                  <a:pt x="24" y="208"/>
                </a:lnTo>
                <a:lnTo>
                  <a:pt x="14" y="225"/>
                </a:lnTo>
                <a:lnTo>
                  <a:pt x="7" y="244"/>
                </a:lnTo>
                <a:lnTo>
                  <a:pt x="1" y="263"/>
                </a:lnTo>
                <a:lnTo>
                  <a:pt x="0" y="284"/>
                </a:lnTo>
                <a:lnTo>
                  <a:pt x="0" y="642"/>
                </a:lnTo>
                <a:lnTo>
                  <a:pt x="0" y="647"/>
                </a:lnTo>
                <a:lnTo>
                  <a:pt x="0" y="652"/>
                </a:lnTo>
                <a:lnTo>
                  <a:pt x="2" y="668"/>
                </a:lnTo>
                <a:lnTo>
                  <a:pt x="7" y="683"/>
                </a:lnTo>
                <a:lnTo>
                  <a:pt x="13" y="697"/>
                </a:lnTo>
                <a:lnTo>
                  <a:pt x="21" y="712"/>
                </a:lnTo>
                <a:lnTo>
                  <a:pt x="28" y="724"/>
                </a:lnTo>
                <a:lnTo>
                  <a:pt x="37" y="735"/>
                </a:lnTo>
                <a:lnTo>
                  <a:pt x="47" y="746"/>
                </a:lnTo>
                <a:lnTo>
                  <a:pt x="59" y="757"/>
                </a:lnTo>
                <a:lnTo>
                  <a:pt x="73" y="769"/>
                </a:lnTo>
                <a:lnTo>
                  <a:pt x="89" y="780"/>
                </a:lnTo>
                <a:lnTo>
                  <a:pt x="107" y="792"/>
                </a:lnTo>
                <a:lnTo>
                  <a:pt x="125" y="802"/>
                </a:lnTo>
                <a:lnTo>
                  <a:pt x="144" y="812"/>
                </a:lnTo>
                <a:lnTo>
                  <a:pt x="164" y="821"/>
                </a:lnTo>
                <a:lnTo>
                  <a:pt x="187" y="830"/>
                </a:lnTo>
                <a:lnTo>
                  <a:pt x="209" y="838"/>
                </a:lnTo>
                <a:lnTo>
                  <a:pt x="232" y="846"/>
                </a:lnTo>
                <a:lnTo>
                  <a:pt x="256" y="853"/>
                </a:lnTo>
                <a:lnTo>
                  <a:pt x="282" y="860"/>
                </a:lnTo>
                <a:lnTo>
                  <a:pt x="307" y="867"/>
                </a:lnTo>
                <a:lnTo>
                  <a:pt x="361" y="880"/>
                </a:lnTo>
                <a:lnTo>
                  <a:pt x="415" y="890"/>
                </a:lnTo>
                <a:lnTo>
                  <a:pt x="471" y="899"/>
                </a:lnTo>
                <a:lnTo>
                  <a:pt x="528" y="906"/>
                </a:lnTo>
                <a:lnTo>
                  <a:pt x="584" y="912"/>
                </a:lnTo>
                <a:lnTo>
                  <a:pt x="641" y="917"/>
                </a:lnTo>
                <a:lnTo>
                  <a:pt x="696" y="920"/>
                </a:lnTo>
                <a:lnTo>
                  <a:pt x="750" y="923"/>
                </a:lnTo>
                <a:lnTo>
                  <a:pt x="802" y="924"/>
                </a:lnTo>
                <a:lnTo>
                  <a:pt x="850" y="925"/>
                </a:lnTo>
                <a:lnTo>
                  <a:pt x="899" y="924"/>
                </a:lnTo>
                <a:lnTo>
                  <a:pt x="950" y="923"/>
                </a:lnTo>
                <a:lnTo>
                  <a:pt x="1004" y="920"/>
                </a:lnTo>
                <a:lnTo>
                  <a:pt x="1060" y="917"/>
                </a:lnTo>
                <a:lnTo>
                  <a:pt x="1116" y="912"/>
                </a:lnTo>
                <a:lnTo>
                  <a:pt x="1173" y="906"/>
                </a:lnTo>
                <a:lnTo>
                  <a:pt x="1230" y="899"/>
                </a:lnTo>
                <a:lnTo>
                  <a:pt x="1285" y="890"/>
                </a:lnTo>
                <a:lnTo>
                  <a:pt x="1340" y="880"/>
                </a:lnTo>
                <a:lnTo>
                  <a:pt x="1393" y="867"/>
                </a:lnTo>
                <a:lnTo>
                  <a:pt x="1419" y="860"/>
                </a:lnTo>
                <a:lnTo>
                  <a:pt x="1443" y="853"/>
                </a:lnTo>
                <a:lnTo>
                  <a:pt x="1467" y="846"/>
                </a:lnTo>
                <a:lnTo>
                  <a:pt x="1492" y="838"/>
                </a:lnTo>
                <a:lnTo>
                  <a:pt x="1514" y="830"/>
                </a:lnTo>
                <a:lnTo>
                  <a:pt x="1535" y="821"/>
                </a:lnTo>
                <a:lnTo>
                  <a:pt x="1557" y="812"/>
                </a:lnTo>
                <a:lnTo>
                  <a:pt x="1576" y="802"/>
                </a:lnTo>
                <a:lnTo>
                  <a:pt x="1594" y="792"/>
                </a:lnTo>
                <a:lnTo>
                  <a:pt x="1611" y="780"/>
                </a:lnTo>
                <a:lnTo>
                  <a:pt x="1627" y="769"/>
                </a:lnTo>
                <a:lnTo>
                  <a:pt x="1642" y="757"/>
                </a:lnTo>
                <a:lnTo>
                  <a:pt x="1653" y="746"/>
                </a:lnTo>
                <a:lnTo>
                  <a:pt x="1663" y="735"/>
                </a:lnTo>
                <a:lnTo>
                  <a:pt x="1672" y="724"/>
                </a:lnTo>
                <a:lnTo>
                  <a:pt x="1680" y="712"/>
                </a:lnTo>
                <a:lnTo>
                  <a:pt x="1687" y="697"/>
                </a:lnTo>
                <a:lnTo>
                  <a:pt x="1693" y="683"/>
                </a:lnTo>
                <a:lnTo>
                  <a:pt x="1697" y="668"/>
                </a:lnTo>
                <a:lnTo>
                  <a:pt x="1699" y="652"/>
                </a:lnTo>
                <a:lnTo>
                  <a:pt x="1700" y="647"/>
                </a:lnTo>
                <a:lnTo>
                  <a:pt x="1700" y="642"/>
                </a:lnTo>
                <a:lnTo>
                  <a:pt x="1700" y="284"/>
                </a:lnTo>
                <a:lnTo>
                  <a:pt x="1698" y="263"/>
                </a:lnTo>
                <a:lnTo>
                  <a:pt x="1694" y="244"/>
                </a:lnTo>
                <a:lnTo>
                  <a:pt x="1686" y="225"/>
                </a:lnTo>
                <a:lnTo>
                  <a:pt x="1676" y="208"/>
                </a:lnTo>
                <a:lnTo>
                  <a:pt x="1664" y="191"/>
                </a:lnTo>
                <a:lnTo>
                  <a:pt x="1649" y="174"/>
                </a:lnTo>
                <a:lnTo>
                  <a:pt x="1631" y="159"/>
                </a:lnTo>
                <a:lnTo>
                  <a:pt x="1611" y="145"/>
                </a:lnTo>
                <a:lnTo>
                  <a:pt x="1590" y="132"/>
                </a:lnTo>
                <a:lnTo>
                  <a:pt x="1567" y="119"/>
                </a:lnTo>
                <a:lnTo>
                  <a:pt x="1541" y="108"/>
                </a:lnTo>
                <a:lnTo>
                  <a:pt x="1514" y="96"/>
                </a:lnTo>
                <a:lnTo>
                  <a:pt x="1486" y="85"/>
                </a:lnTo>
                <a:lnTo>
                  <a:pt x="1456" y="76"/>
                </a:lnTo>
                <a:lnTo>
                  <a:pt x="1425" y="67"/>
                </a:lnTo>
                <a:lnTo>
                  <a:pt x="1394" y="58"/>
                </a:lnTo>
                <a:lnTo>
                  <a:pt x="1360" y="51"/>
                </a:lnTo>
                <a:lnTo>
                  <a:pt x="1327" y="44"/>
                </a:lnTo>
                <a:lnTo>
                  <a:pt x="1292" y="37"/>
                </a:lnTo>
                <a:lnTo>
                  <a:pt x="1258" y="32"/>
                </a:lnTo>
                <a:lnTo>
                  <a:pt x="1223" y="26"/>
                </a:lnTo>
                <a:lnTo>
                  <a:pt x="1187" y="22"/>
                </a:lnTo>
                <a:lnTo>
                  <a:pt x="1152" y="18"/>
                </a:lnTo>
                <a:lnTo>
                  <a:pt x="1116" y="13"/>
                </a:lnTo>
                <a:lnTo>
                  <a:pt x="1046" y="7"/>
                </a:lnTo>
                <a:lnTo>
                  <a:pt x="977" y="3"/>
                </a:lnTo>
                <a:lnTo>
                  <a:pt x="912" y="1"/>
                </a:lnTo>
                <a:lnTo>
                  <a:pt x="850" y="0"/>
                </a:lnTo>
                <a:close/>
                <a:moveTo>
                  <a:pt x="850" y="449"/>
                </a:moveTo>
                <a:lnTo>
                  <a:pt x="813" y="448"/>
                </a:lnTo>
                <a:lnTo>
                  <a:pt x="776" y="448"/>
                </a:lnTo>
                <a:lnTo>
                  <a:pt x="740" y="446"/>
                </a:lnTo>
                <a:lnTo>
                  <a:pt x="705" y="445"/>
                </a:lnTo>
                <a:lnTo>
                  <a:pt x="635" y="439"/>
                </a:lnTo>
                <a:lnTo>
                  <a:pt x="569" y="432"/>
                </a:lnTo>
                <a:lnTo>
                  <a:pt x="537" y="428"/>
                </a:lnTo>
                <a:lnTo>
                  <a:pt x="505" y="424"/>
                </a:lnTo>
                <a:lnTo>
                  <a:pt x="475" y="419"/>
                </a:lnTo>
                <a:lnTo>
                  <a:pt x="446" y="414"/>
                </a:lnTo>
                <a:lnTo>
                  <a:pt x="417" y="409"/>
                </a:lnTo>
                <a:lnTo>
                  <a:pt x="390" y="403"/>
                </a:lnTo>
                <a:lnTo>
                  <a:pt x="364" y="397"/>
                </a:lnTo>
                <a:lnTo>
                  <a:pt x="338" y="391"/>
                </a:lnTo>
                <a:lnTo>
                  <a:pt x="315" y="384"/>
                </a:lnTo>
                <a:lnTo>
                  <a:pt x="292" y="377"/>
                </a:lnTo>
                <a:lnTo>
                  <a:pt x="271" y="369"/>
                </a:lnTo>
                <a:lnTo>
                  <a:pt x="250" y="362"/>
                </a:lnTo>
                <a:lnTo>
                  <a:pt x="231" y="353"/>
                </a:lnTo>
                <a:lnTo>
                  <a:pt x="214" y="345"/>
                </a:lnTo>
                <a:lnTo>
                  <a:pt x="198" y="336"/>
                </a:lnTo>
                <a:lnTo>
                  <a:pt x="184" y="328"/>
                </a:lnTo>
                <a:lnTo>
                  <a:pt x="170" y="319"/>
                </a:lnTo>
                <a:lnTo>
                  <a:pt x="159" y="310"/>
                </a:lnTo>
                <a:lnTo>
                  <a:pt x="149" y="300"/>
                </a:lnTo>
                <a:lnTo>
                  <a:pt x="141" y="291"/>
                </a:lnTo>
                <a:lnTo>
                  <a:pt x="135" y="281"/>
                </a:lnTo>
                <a:lnTo>
                  <a:pt x="131" y="271"/>
                </a:lnTo>
                <a:lnTo>
                  <a:pt x="128" y="261"/>
                </a:lnTo>
                <a:lnTo>
                  <a:pt x="127" y="251"/>
                </a:lnTo>
                <a:lnTo>
                  <a:pt x="128" y="241"/>
                </a:lnTo>
                <a:lnTo>
                  <a:pt x="131" y="231"/>
                </a:lnTo>
                <a:lnTo>
                  <a:pt x="135" y="221"/>
                </a:lnTo>
                <a:lnTo>
                  <a:pt x="141" y="211"/>
                </a:lnTo>
                <a:lnTo>
                  <a:pt x="149" y="202"/>
                </a:lnTo>
                <a:lnTo>
                  <a:pt x="159" y="193"/>
                </a:lnTo>
                <a:lnTo>
                  <a:pt x="170" y="183"/>
                </a:lnTo>
                <a:lnTo>
                  <a:pt x="184" y="174"/>
                </a:lnTo>
                <a:lnTo>
                  <a:pt x="198" y="165"/>
                </a:lnTo>
                <a:lnTo>
                  <a:pt x="214" y="157"/>
                </a:lnTo>
                <a:lnTo>
                  <a:pt x="231" y="149"/>
                </a:lnTo>
                <a:lnTo>
                  <a:pt x="250" y="141"/>
                </a:lnTo>
                <a:lnTo>
                  <a:pt x="271" y="133"/>
                </a:lnTo>
                <a:lnTo>
                  <a:pt x="292" y="126"/>
                </a:lnTo>
                <a:lnTo>
                  <a:pt x="315" y="119"/>
                </a:lnTo>
                <a:lnTo>
                  <a:pt x="338" y="112"/>
                </a:lnTo>
                <a:lnTo>
                  <a:pt x="364" y="105"/>
                </a:lnTo>
                <a:lnTo>
                  <a:pt x="390" y="98"/>
                </a:lnTo>
                <a:lnTo>
                  <a:pt x="417" y="92"/>
                </a:lnTo>
                <a:lnTo>
                  <a:pt x="446" y="87"/>
                </a:lnTo>
                <a:lnTo>
                  <a:pt x="475" y="82"/>
                </a:lnTo>
                <a:lnTo>
                  <a:pt x="505" y="77"/>
                </a:lnTo>
                <a:lnTo>
                  <a:pt x="537" y="73"/>
                </a:lnTo>
                <a:lnTo>
                  <a:pt x="569" y="69"/>
                </a:lnTo>
                <a:lnTo>
                  <a:pt x="635" y="62"/>
                </a:lnTo>
                <a:lnTo>
                  <a:pt x="705" y="58"/>
                </a:lnTo>
                <a:lnTo>
                  <a:pt x="740" y="56"/>
                </a:lnTo>
                <a:lnTo>
                  <a:pt x="776" y="55"/>
                </a:lnTo>
                <a:lnTo>
                  <a:pt x="813" y="54"/>
                </a:lnTo>
                <a:lnTo>
                  <a:pt x="850" y="54"/>
                </a:lnTo>
                <a:lnTo>
                  <a:pt x="888" y="54"/>
                </a:lnTo>
                <a:lnTo>
                  <a:pt x="924" y="55"/>
                </a:lnTo>
                <a:lnTo>
                  <a:pt x="961" y="56"/>
                </a:lnTo>
                <a:lnTo>
                  <a:pt x="996" y="58"/>
                </a:lnTo>
                <a:lnTo>
                  <a:pt x="1065" y="62"/>
                </a:lnTo>
                <a:lnTo>
                  <a:pt x="1132" y="69"/>
                </a:lnTo>
                <a:lnTo>
                  <a:pt x="1164" y="73"/>
                </a:lnTo>
                <a:lnTo>
                  <a:pt x="1195" y="77"/>
                </a:lnTo>
                <a:lnTo>
                  <a:pt x="1226" y="82"/>
                </a:lnTo>
                <a:lnTo>
                  <a:pt x="1255" y="87"/>
                </a:lnTo>
                <a:lnTo>
                  <a:pt x="1283" y="92"/>
                </a:lnTo>
                <a:lnTo>
                  <a:pt x="1311" y="98"/>
                </a:lnTo>
                <a:lnTo>
                  <a:pt x="1337" y="105"/>
                </a:lnTo>
                <a:lnTo>
                  <a:pt x="1361" y="112"/>
                </a:lnTo>
                <a:lnTo>
                  <a:pt x="1386" y="119"/>
                </a:lnTo>
                <a:lnTo>
                  <a:pt x="1409" y="126"/>
                </a:lnTo>
                <a:lnTo>
                  <a:pt x="1430" y="133"/>
                </a:lnTo>
                <a:lnTo>
                  <a:pt x="1450" y="141"/>
                </a:lnTo>
                <a:lnTo>
                  <a:pt x="1469" y="149"/>
                </a:lnTo>
                <a:lnTo>
                  <a:pt x="1487" y="157"/>
                </a:lnTo>
                <a:lnTo>
                  <a:pt x="1502" y="165"/>
                </a:lnTo>
                <a:lnTo>
                  <a:pt x="1517" y="174"/>
                </a:lnTo>
                <a:lnTo>
                  <a:pt x="1529" y="183"/>
                </a:lnTo>
                <a:lnTo>
                  <a:pt x="1541" y="193"/>
                </a:lnTo>
                <a:lnTo>
                  <a:pt x="1550" y="202"/>
                </a:lnTo>
                <a:lnTo>
                  <a:pt x="1559" y="211"/>
                </a:lnTo>
                <a:lnTo>
                  <a:pt x="1566" y="221"/>
                </a:lnTo>
                <a:lnTo>
                  <a:pt x="1570" y="231"/>
                </a:lnTo>
                <a:lnTo>
                  <a:pt x="1573" y="241"/>
                </a:lnTo>
                <a:lnTo>
                  <a:pt x="1574" y="251"/>
                </a:lnTo>
                <a:lnTo>
                  <a:pt x="1573" y="261"/>
                </a:lnTo>
                <a:lnTo>
                  <a:pt x="1570" y="271"/>
                </a:lnTo>
                <a:lnTo>
                  <a:pt x="1566" y="281"/>
                </a:lnTo>
                <a:lnTo>
                  <a:pt x="1559" y="291"/>
                </a:lnTo>
                <a:lnTo>
                  <a:pt x="1550" y="300"/>
                </a:lnTo>
                <a:lnTo>
                  <a:pt x="1541" y="310"/>
                </a:lnTo>
                <a:lnTo>
                  <a:pt x="1529" y="319"/>
                </a:lnTo>
                <a:lnTo>
                  <a:pt x="1517" y="328"/>
                </a:lnTo>
                <a:lnTo>
                  <a:pt x="1502" y="336"/>
                </a:lnTo>
                <a:lnTo>
                  <a:pt x="1487" y="345"/>
                </a:lnTo>
                <a:lnTo>
                  <a:pt x="1469" y="353"/>
                </a:lnTo>
                <a:lnTo>
                  <a:pt x="1450" y="362"/>
                </a:lnTo>
                <a:lnTo>
                  <a:pt x="1430" y="369"/>
                </a:lnTo>
                <a:lnTo>
                  <a:pt x="1409" y="377"/>
                </a:lnTo>
                <a:lnTo>
                  <a:pt x="1386" y="384"/>
                </a:lnTo>
                <a:lnTo>
                  <a:pt x="1361" y="391"/>
                </a:lnTo>
                <a:lnTo>
                  <a:pt x="1337" y="397"/>
                </a:lnTo>
                <a:lnTo>
                  <a:pt x="1311" y="403"/>
                </a:lnTo>
                <a:lnTo>
                  <a:pt x="1283" y="409"/>
                </a:lnTo>
                <a:lnTo>
                  <a:pt x="1255" y="414"/>
                </a:lnTo>
                <a:lnTo>
                  <a:pt x="1226" y="419"/>
                </a:lnTo>
                <a:lnTo>
                  <a:pt x="1195" y="424"/>
                </a:lnTo>
                <a:lnTo>
                  <a:pt x="1164" y="428"/>
                </a:lnTo>
                <a:lnTo>
                  <a:pt x="1132" y="432"/>
                </a:lnTo>
                <a:lnTo>
                  <a:pt x="1065" y="439"/>
                </a:lnTo>
                <a:lnTo>
                  <a:pt x="996" y="445"/>
                </a:lnTo>
                <a:lnTo>
                  <a:pt x="961" y="446"/>
                </a:lnTo>
                <a:lnTo>
                  <a:pt x="924" y="448"/>
                </a:lnTo>
                <a:lnTo>
                  <a:pt x="888" y="448"/>
                </a:lnTo>
                <a:lnTo>
                  <a:pt x="850" y="44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867" dirty="0"/>
          </a:p>
        </p:txBody>
      </p:sp>
      <p:sp>
        <p:nvSpPr>
          <p:cNvPr id="15" name="TextBox 14"/>
          <p:cNvSpPr txBox="1"/>
          <p:nvPr/>
        </p:nvSpPr>
        <p:spPr>
          <a:xfrm>
            <a:off x="4070279" y="3875015"/>
            <a:ext cx="7383695" cy="379656"/>
          </a:xfrm>
          <a:prstGeom prst="rect">
            <a:avLst/>
          </a:prstGeom>
          <a:noFill/>
        </p:spPr>
        <p:txBody>
          <a:bodyPr wrap="square" rtlCol="0">
            <a:spAutoFit/>
          </a:bodyPr>
          <a:lstStyle/>
          <a:p>
            <a:endParaRPr lang="en-US" sz="1867" dirty="0"/>
          </a:p>
        </p:txBody>
      </p:sp>
      <p:sp>
        <p:nvSpPr>
          <p:cNvPr id="16" name="TextBox 15"/>
          <p:cNvSpPr txBox="1"/>
          <p:nvPr/>
        </p:nvSpPr>
        <p:spPr>
          <a:xfrm>
            <a:off x="3581400" y="5170415"/>
            <a:ext cx="8048624" cy="1200329"/>
          </a:xfrm>
          <a:prstGeom prst="rect">
            <a:avLst/>
          </a:prstGeom>
          <a:noFill/>
        </p:spPr>
        <p:txBody>
          <a:bodyPr wrap="square" rtlCol="0">
            <a:spAutoFit/>
          </a:bodyPr>
          <a:lstStyle/>
          <a:p>
            <a:pPr marL="171450" indent="-171450">
              <a:buFont typeface="Wingdings" panose="05000000000000000000" pitchFamily="2" charset="2"/>
              <a:buChar char="Ø"/>
            </a:pPr>
            <a:r>
              <a:rPr lang="en-SG" sz="1200" dirty="0">
                <a:solidFill>
                  <a:schemeClr val="tx1"/>
                </a:solidFill>
                <a:latin typeface="Futura Lt BT" panose="020B0402020204020303" pitchFamily="34" charset="0"/>
                <a:ea typeface="Times New Roman" panose="02020603050405020304" pitchFamily="18" charset="0"/>
                <a:cs typeface="Calibri" panose="020F0502020204030204" pitchFamily="34" charset="0"/>
              </a:rPr>
              <a:t>Credit record dataset is grouped with the ‘id’ variable by taking the maximum value of the status variable against the applicant's id.</a:t>
            </a:r>
          </a:p>
          <a:p>
            <a:pPr marL="171450" indent="-171450">
              <a:buFont typeface="Wingdings" panose="05000000000000000000" pitchFamily="2" charset="2"/>
              <a:buChar char="Ø"/>
            </a:pPr>
            <a:r>
              <a:rPr lang="en-SG" sz="1200" dirty="0">
                <a:solidFill>
                  <a:schemeClr val="tx1"/>
                </a:solidFill>
                <a:latin typeface="Futura Lt BT" panose="020B0402020204020303" pitchFamily="34" charset="0"/>
                <a:ea typeface="Calibri" panose="020F0502020204030204" pitchFamily="34" charset="0"/>
                <a:cs typeface="Calibri" panose="020F0502020204030204" pitchFamily="34" charset="0"/>
              </a:rPr>
              <a:t>Status is dependent variable, has changed to the binary output by substituting any value that is equal to 2 or above by '1's and below 2 by ‘0’s. </a:t>
            </a:r>
          </a:p>
          <a:p>
            <a:pPr marL="171450" indent="-171450">
              <a:buFont typeface="Wingdings" panose="05000000000000000000" pitchFamily="2" charset="2"/>
              <a:buChar char="Ø"/>
            </a:pPr>
            <a:r>
              <a:rPr lang="en-SG" sz="1200" dirty="0">
                <a:solidFill>
                  <a:schemeClr val="tx1"/>
                </a:solidFill>
                <a:latin typeface="Futura Lt BT" panose="020B0402020204020303" pitchFamily="34" charset="0"/>
                <a:ea typeface="Calibri" panose="020F0502020204030204" pitchFamily="34" charset="0"/>
                <a:cs typeface="Calibri" panose="020F0502020204030204" pitchFamily="34" charset="0"/>
              </a:rPr>
              <a:t>'0's means Eligible (including customers that are 0-29 days past due date) and '1's means Non-eligible.</a:t>
            </a:r>
            <a:endParaRPr lang="en-US" sz="1200" dirty="0">
              <a:solidFill>
                <a:schemeClr val="tx1"/>
              </a:solidFill>
              <a:latin typeface="Futura Lt BT" panose="020B0402020204020303" pitchFamily="34" charset="0"/>
              <a:cs typeface="Calibri" panose="020F0502020204030204" pitchFamily="34" charset="0"/>
            </a:endParaRPr>
          </a:p>
          <a:p>
            <a:pPr marL="285750" indent="-285750">
              <a:buFont typeface="Wingdings" panose="05000000000000000000" pitchFamily="2" charset="2"/>
              <a:buChar char="ü"/>
            </a:pPr>
            <a:endParaRPr lang="en-US" sz="1200" dirty="0">
              <a:latin typeface="Futura Lt BT" panose="020B0402020204020303" pitchFamily="34" charset="0"/>
            </a:endParaRPr>
          </a:p>
        </p:txBody>
      </p:sp>
      <p:sp>
        <p:nvSpPr>
          <p:cNvPr id="17" name="TextBox 16"/>
          <p:cNvSpPr txBox="1"/>
          <p:nvPr/>
        </p:nvSpPr>
        <p:spPr>
          <a:xfrm>
            <a:off x="3581399" y="3798815"/>
            <a:ext cx="8048625" cy="1200329"/>
          </a:xfrm>
          <a:prstGeom prst="rect">
            <a:avLst/>
          </a:prstGeom>
          <a:noFill/>
        </p:spPr>
        <p:txBody>
          <a:bodyPr wrap="square" rtlCol="0">
            <a:spAutoFit/>
          </a:bodyPr>
          <a:lstStyle/>
          <a:p>
            <a:pPr marL="171450" indent="-171450">
              <a:buFont typeface="Wingdings" panose="05000000000000000000" pitchFamily="2" charset="2"/>
              <a:buChar char="Ø"/>
            </a:pPr>
            <a:r>
              <a:rPr lang="en-US" sz="1200" dirty="0">
                <a:solidFill>
                  <a:schemeClr val="tx1"/>
                </a:solidFill>
                <a:latin typeface="Futura Lt BT" panose="020B0402020204020303" pitchFamily="34" charset="0"/>
              </a:rPr>
              <a:t>Two datasets are merged using an inner join.</a:t>
            </a:r>
          </a:p>
          <a:p>
            <a:pPr marL="171450" indent="-171450">
              <a:buFont typeface="Wingdings" panose="05000000000000000000" pitchFamily="2" charset="2"/>
              <a:buChar char="Ø"/>
            </a:pPr>
            <a:r>
              <a:rPr lang="en-US" sz="1200" dirty="0">
                <a:solidFill>
                  <a:schemeClr val="tx1"/>
                </a:solidFill>
                <a:latin typeface="Futura Lt BT" panose="020B0402020204020303" pitchFamily="34" charset="0"/>
              </a:rPr>
              <a:t>Imbalance ratio is 7.5</a:t>
            </a:r>
          </a:p>
          <a:p>
            <a:pPr marL="171450" indent="-171450">
              <a:buFont typeface="Wingdings" panose="05000000000000000000" pitchFamily="2" charset="2"/>
              <a:buChar char="Ø"/>
            </a:pPr>
            <a:r>
              <a:rPr lang="en-US" sz="1200" dirty="0">
                <a:solidFill>
                  <a:schemeClr val="tx1"/>
                </a:solidFill>
                <a:latin typeface="Futura Lt BT" panose="020B0402020204020303" pitchFamily="34" charset="0"/>
                <a:cs typeface="Calibri" panose="020F0502020204030204" pitchFamily="34" charset="0"/>
              </a:rPr>
              <a:t>Application record dataset has multiple duplicate rows, values for all the IV’s are the same across rows except ID. We have kept duplicate records in this approach.</a:t>
            </a:r>
          </a:p>
          <a:p>
            <a:pPr marL="171450" indent="-171450">
              <a:buFont typeface="Wingdings" panose="05000000000000000000" pitchFamily="2" charset="2"/>
              <a:buChar char="Ø"/>
            </a:pPr>
            <a:r>
              <a:rPr lang="en-US" sz="1200" dirty="0">
                <a:solidFill>
                  <a:schemeClr val="tx1"/>
                </a:solidFill>
                <a:latin typeface="Futura Lt BT" panose="020B0402020204020303" pitchFamily="34" charset="0"/>
                <a:cs typeface="Calibri" panose="020F0502020204030204" pitchFamily="34" charset="0"/>
              </a:rPr>
              <a:t>Occupation_type has 134203 missing values which is 30.60%. As it is an important variable, we have imputed it by creating two categories – retired &amp; others. </a:t>
            </a:r>
          </a:p>
        </p:txBody>
      </p:sp>
      <p:sp>
        <p:nvSpPr>
          <p:cNvPr id="32" name="TextBox 31"/>
          <p:cNvSpPr txBox="1"/>
          <p:nvPr/>
        </p:nvSpPr>
        <p:spPr>
          <a:xfrm>
            <a:off x="453882" y="5399894"/>
            <a:ext cx="1787704" cy="707886"/>
          </a:xfrm>
          <a:prstGeom prst="rect">
            <a:avLst/>
          </a:prstGeom>
          <a:noFill/>
        </p:spPr>
        <p:txBody>
          <a:bodyPr wrap="square" rtlCol="0">
            <a:spAutoFit/>
          </a:bodyPr>
          <a:lstStyle/>
          <a:p>
            <a:pPr algn="ctr"/>
            <a:r>
              <a:rPr lang="en-US" sz="2000" dirty="0">
                <a:solidFill>
                  <a:schemeClr val="bg1"/>
                </a:solidFill>
                <a:latin typeface="Berlin Sans FB" panose="020E0602020502020306" pitchFamily="34" charset="0"/>
              </a:rPr>
              <a:t>Credit</a:t>
            </a:r>
          </a:p>
          <a:p>
            <a:pPr algn="ctr"/>
            <a:r>
              <a:rPr lang="en-US" sz="2000" dirty="0">
                <a:solidFill>
                  <a:schemeClr val="bg1"/>
                </a:solidFill>
                <a:latin typeface="Berlin Sans FB" panose="020E0602020502020306" pitchFamily="34" charset="0"/>
              </a:rPr>
              <a:t>Record </a:t>
            </a:r>
          </a:p>
        </p:txBody>
      </p:sp>
      <p:sp>
        <p:nvSpPr>
          <p:cNvPr id="35" name="Title 2">
            <a:extLst>
              <a:ext uri="{FF2B5EF4-FFF2-40B4-BE49-F238E27FC236}">
                <a16:creationId xmlns:a16="http://schemas.microsoft.com/office/drawing/2014/main" id="{4B3DCF99-4807-2F21-1158-C2E750E92F00}"/>
              </a:ext>
            </a:extLst>
          </p:cNvPr>
          <p:cNvSpPr txBox="1">
            <a:spLocks/>
          </p:cNvSpPr>
          <p:nvPr/>
        </p:nvSpPr>
        <p:spPr>
          <a:xfrm>
            <a:off x="656074" y="286979"/>
            <a:ext cx="11056465" cy="46560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SG" sz="4100" b="0" dirty="0">
                <a:solidFill>
                  <a:schemeClr val="tx1"/>
                </a:solidFill>
                <a:latin typeface="Berlin Sans FB" panose="020E0602020502020306" pitchFamily="34" charset="0"/>
                <a:cs typeface="Helvetica" panose="020B0604020202020204" pitchFamily="34" charset="0"/>
              </a:rPr>
              <a:t>Data Merging </a:t>
            </a:r>
          </a:p>
        </p:txBody>
      </p:sp>
      <p:pic>
        <p:nvPicPr>
          <p:cNvPr id="2" name="Picture 1"/>
          <p:cNvPicPr>
            <a:picLocks noChangeAspect="1"/>
          </p:cNvPicPr>
          <p:nvPr/>
        </p:nvPicPr>
        <p:blipFill>
          <a:blip r:embed="rId3"/>
          <a:stretch>
            <a:fillRect/>
          </a:stretch>
        </p:blipFill>
        <p:spPr>
          <a:xfrm>
            <a:off x="3675888" y="801624"/>
            <a:ext cx="4462272" cy="2858267"/>
          </a:xfrm>
          <a:prstGeom prst="rect">
            <a:avLst/>
          </a:prstGeom>
        </p:spPr>
      </p:pic>
    </p:spTree>
    <p:extLst>
      <p:ext uri="{BB962C8B-B14F-4D97-AF65-F5344CB8AC3E}">
        <p14:creationId xmlns:p14="http://schemas.microsoft.com/office/powerpoint/2010/main" val="2522941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3DCF99-4807-2F21-1158-C2E750E92F00}"/>
              </a:ext>
            </a:extLst>
          </p:cNvPr>
          <p:cNvSpPr txBox="1">
            <a:spLocks/>
          </p:cNvSpPr>
          <p:nvPr/>
        </p:nvSpPr>
        <p:spPr>
          <a:xfrm>
            <a:off x="627499" y="285749"/>
            <a:ext cx="10673771" cy="48577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4400"/>
              <a:buFont typeface="Arial Narrow"/>
              <a:buNone/>
              <a:defRPr sz="4400" b="1" i="0" u="none" strike="noStrike" cap="none">
                <a:solidFill>
                  <a:schemeClr val="lt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4100" b="0" dirty="0">
                <a:solidFill>
                  <a:schemeClr val="tx1"/>
                </a:solidFill>
                <a:latin typeface="Berlin Sans FB" panose="020E0602020502020306" pitchFamily="34" charset="0"/>
                <a:cs typeface="Helvetica" panose="020B0604020202020204" pitchFamily="34" charset="0"/>
              </a:rPr>
              <a:t>Exploratory Data Analysis</a:t>
            </a:r>
            <a:endParaRPr lang="en-SG" sz="4100" b="0" dirty="0">
              <a:solidFill>
                <a:schemeClr val="tx1"/>
              </a:solidFill>
              <a:latin typeface="Berlin Sans FB" panose="020E0602020502020306" pitchFamily="34" charset="0"/>
              <a:cs typeface="Helvetica" panose="020B0604020202020204" pitchFamily="34" charset="0"/>
            </a:endParaRPr>
          </a:p>
        </p:txBody>
      </p:sp>
      <p:pic>
        <p:nvPicPr>
          <p:cNvPr id="6" name="Picture 5"/>
          <p:cNvPicPr>
            <a:picLocks noChangeAspect="1"/>
          </p:cNvPicPr>
          <p:nvPr/>
        </p:nvPicPr>
        <p:blipFill>
          <a:blip r:embed="rId2"/>
          <a:stretch>
            <a:fillRect/>
          </a:stretch>
        </p:blipFill>
        <p:spPr>
          <a:xfrm>
            <a:off x="599503" y="861251"/>
            <a:ext cx="4942773" cy="5612702"/>
          </a:xfrm>
          <a:prstGeom prst="rect">
            <a:avLst/>
          </a:prstGeom>
        </p:spPr>
      </p:pic>
      <p:grpSp>
        <p:nvGrpSpPr>
          <p:cNvPr id="8" name="Group 7"/>
          <p:cNvGrpSpPr/>
          <p:nvPr/>
        </p:nvGrpSpPr>
        <p:grpSpPr>
          <a:xfrm>
            <a:off x="6026056" y="914464"/>
            <a:ext cx="2380412" cy="1548741"/>
            <a:chOff x="1636936" y="1060768"/>
            <a:chExt cx="2380412" cy="1548741"/>
          </a:xfrm>
        </p:grpSpPr>
        <p:pic>
          <p:nvPicPr>
            <p:cNvPr id="9" name="Picture 8"/>
            <p:cNvPicPr>
              <a:picLocks noChangeAspect="1"/>
            </p:cNvPicPr>
            <p:nvPr/>
          </p:nvPicPr>
          <p:blipFill>
            <a:blip r:embed="rId3"/>
            <a:stretch>
              <a:fillRect/>
            </a:stretch>
          </p:blipFill>
          <p:spPr>
            <a:xfrm>
              <a:off x="1636936" y="1060768"/>
              <a:ext cx="2380412" cy="1548741"/>
            </a:xfrm>
            <a:prstGeom prst="rect">
              <a:avLst/>
            </a:prstGeom>
          </p:spPr>
        </p:pic>
        <p:sp>
          <p:nvSpPr>
            <p:cNvPr id="10" name="TextBox 9"/>
            <p:cNvSpPr txBox="1"/>
            <p:nvPr/>
          </p:nvSpPr>
          <p:spPr>
            <a:xfrm>
              <a:off x="2938653" y="1109091"/>
              <a:ext cx="1050288" cy="307777"/>
            </a:xfrm>
            <a:prstGeom prst="rect">
              <a:avLst/>
            </a:prstGeom>
            <a:noFill/>
          </p:spPr>
          <p:txBody>
            <a:bodyPr wrap="none" rtlCol="0">
              <a:spAutoFit/>
            </a:bodyPr>
            <a:lstStyle/>
            <a:p>
              <a:r>
                <a:rPr lang="en-US" dirty="0" err="1">
                  <a:latin typeface="Futura Lt BT" panose="020B0402020204020303"/>
                </a:rPr>
                <a:t>cnt</a:t>
              </a:r>
              <a:r>
                <a:rPr lang="en-US" dirty="0">
                  <a:latin typeface="Futura Lt BT" panose="020B0402020204020303"/>
                </a:rPr>
                <a:t> children</a:t>
              </a:r>
              <a:endParaRPr lang="en-SG" dirty="0">
                <a:latin typeface="Futura Lt BT" panose="020B0402020204020303"/>
              </a:endParaRPr>
            </a:p>
          </p:txBody>
        </p:sp>
      </p:grpSp>
      <p:grpSp>
        <p:nvGrpSpPr>
          <p:cNvPr id="11" name="Group 10"/>
          <p:cNvGrpSpPr/>
          <p:nvPr/>
        </p:nvGrpSpPr>
        <p:grpSpPr>
          <a:xfrm>
            <a:off x="8796117" y="931001"/>
            <a:ext cx="2345961" cy="1507199"/>
            <a:chOff x="4254500" y="2856534"/>
            <a:chExt cx="2345961" cy="1507199"/>
          </a:xfrm>
        </p:grpSpPr>
        <p:pic>
          <p:nvPicPr>
            <p:cNvPr id="12" name="Picture 11"/>
            <p:cNvPicPr>
              <a:picLocks noChangeAspect="1"/>
            </p:cNvPicPr>
            <p:nvPr/>
          </p:nvPicPr>
          <p:blipFill>
            <a:blip r:embed="rId4"/>
            <a:stretch>
              <a:fillRect/>
            </a:stretch>
          </p:blipFill>
          <p:spPr>
            <a:xfrm>
              <a:off x="4254500" y="2856534"/>
              <a:ext cx="2345961" cy="1507199"/>
            </a:xfrm>
            <a:prstGeom prst="rect">
              <a:avLst/>
            </a:prstGeom>
          </p:spPr>
        </p:pic>
        <p:sp>
          <p:nvSpPr>
            <p:cNvPr id="13" name="TextBox 12"/>
            <p:cNvSpPr txBox="1"/>
            <p:nvPr/>
          </p:nvSpPr>
          <p:spPr>
            <a:xfrm>
              <a:off x="5017008" y="2865501"/>
              <a:ext cx="1532792" cy="307777"/>
            </a:xfrm>
            <a:prstGeom prst="rect">
              <a:avLst/>
            </a:prstGeom>
            <a:noFill/>
          </p:spPr>
          <p:txBody>
            <a:bodyPr wrap="none" rtlCol="0">
              <a:spAutoFit/>
            </a:bodyPr>
            <a:lstStyle/>
            <a:p>
              <a:r>
                <a:rPr lang="en-US" dirty="0">
                  <a:latin typeface="Futura Lt BT" panose="020B0402020204020303"/>
                </a:rPr>
                <a:t>employment years</a:t>
              </a:r>
              <a:endParaRPr lang="en-SG" dirty="0">
                <a:latin typeface="Futura Lt BT" panose="020B0402020204020303"/>
              </a:endParaRPr>
            </a:p>
          </p:txBody>
        </p:sp>
      </p:grpSp>
      <p:grpSp>
        <p:nvGrpSpPr>
          <p:cNvPr id="14" name="Group 13"/>
          <p:cNvGrpSpPr/>
          <p:nvPr/>
        </p:nvGrpSpPr>
        <p:grpSpPr>
          <a:xfrm>
            <a:off x="6001671" y="2722422"/>
            <a:ext cx="2404797" cy="1602689"/>
            <a:chOff x="1301655" y="2887014"/>
            <a:chExt cx="2506021" cy="1616677"/>
          </a:xfrm>
        </p:grpSpPr>
        <p:pic>
          <p:nvPicPr>
            <p:cNvPr id="15" name="Picture 14"/>
            <p:cNvPicPr>
              <a:picLocks noChangeAspect="1"/>
            </p:cNvPicPr>
            <p:nvPr/>
          </p:nvPicPr>
          <p:blipFill>
            <a:blip r:embed="rId5"/>
            <a:stretch>
              <a:fillRect/>
            </a:stretch>
          </p:blipFill>
          <p:spPr>
            <a:xfrm>
              <a:off x="1301655" y="2887014"/>
              <a:ext cx="2506021" cy="1616677"/>
            </a:xfrm>
            <a:prstGeom prst="rect">
              <a:avLst/>
            </a:prstGeom>
          </p:spPr>
        </p:pic>
        <p:sp>
          <p:nvSpPr>
            <p:cNvPr id="16" name="TextBox 15"/>
            <p:cNvSpPr txBox="1"/>
            <p:nvPr/>
          </p:nvSpPr>
          <p:spPr>
            <a:xfrm>
              <a:off x="3262503" y="2892171"/>
              <a:ext cx="489783" cy="310463"/>
            </a:xfrm>
            <a:prstGeom prst="rect">
              <a:avLst/>
            </a:prstGeom>
            <a:noFill/>
          </p:spPr>
          <p:txBody>
            <a:bodyPr wrap="none" rtlCol="0">
              <a:spAutoFit/>
            </a:bodyPr>
            <a:lstStyle/>
            <a:p>
              <a:r>
                <a:rPr lang="en-US" dirty="0">
                  <a:latin typeface="Futura Lt BT" panose="020B0402020204020303"/>
                </a:rPr>
                <a:t>age</a:t>
              </a:r>
              <a:endParaRPr lang="en-SG" dirty="0">
                <a:latin typeface="Futura Lt BT" panose="020B0402020204020303"/>
              </a:endParaRPr>
            </a:p>
          </p:txBody>
        </p:sp>
      </p:grpSp>
      <p:grpSp>
        <p:nvGrpSpPr>
          <p:cNvPr id="17" name="Group 16"/>
          <p:cNvGrpSpPr/>
          <p:nvPr/>
        </p:nvGrpSpPr>
        <p:grpSpPr>
          <a:xfrm>
            <a:off x="8786973" y="4599432"/>
            <a:ext cx="2384398" cy="1737361"/>
            <a:chOff x="499015" y="4600598"/>
            <a:chExt cx="2828330" cy="1800225"/>
          </a:xfrm>
        </p:grpSpPr>
        <p:pic>
          <p:nvPicPr>
            <p:cNvPr id="18" name="Picture 17"/>
            <p:cNvPicPr>
              <a:picLocks noChangeAspect="1"/>
            </p:cNvPicPr>
            <p:nvPr/>
          </p:nvPicPr>
          <p:blipFill>
            <a:blip r:embed="rId6"/>
            <a:stretch>
              <a:fillRect/>
            </a:stretch>
          </p:blipFill>
          <p:spPr>
            <a:xfrm>
              <a:off x="499015" y="4600598"/>
              <a:ext cx="2793583" cy="1800225"/>
            </a:xfrm>
            <a:prstGeom prst="rect">
              <a:avLst/>
            </a:prstGeom>
          </p:spPr>
        </p:pic>
        <p:sp>
          <p:nvSpPr>
            <p:cNvPr id="19" name="TextBox 18"/>
            <p:cNvSpPr txBox="1"/>
            <p:nvPr/>
          </p:nvSpPr>
          <p:spPr>
            <a:xfrm>
              <a:off x="1897072" y="4629150"/>
              <a:ext cx="1430273" cy="318913"/>
            </a:xfrm>
            <a:prstGeom prst="rect">
              <a:avLst/>
            </a:prstGeom>
            <a:noFill/>
          </p:spPr>
          <p:txBody>
            <a:bodyPr wrap="none" rtlCol="0">
              <a:spAutoFit/>
            </a:bodyPr>
            <a:lstStyle/>
            <a:p>
              <a:r>
                <a:rPr lang="en-US" dirty="0">
                  <a:latin typeface="Futura Lt BT" panose="020B0402020204020303"/>
                </a:rPr>
                <a:t>fam members</a:t>
              </a:r>
              <a:endParaRPr lang="en-SG" dirty="0">
                <a:latin typeface="Futura Lt BT" panose="020B0402020204020303"/>
              </a:endParaRPr>
            </a:p>
          </p:txBody>
        </p:sp>
      </p:grpSp>
      <p:grpSp>
        <p:nvGrpSpPr>
          <p:cNvPr id="20" name="Group 19"/>
          <p:cNvGrpSpPr/>
          <p:nvPr/>
        </p:nvGrpSpPr>
        <p:grpSpPr>
          <a:xfrm>
            <a:off x="8796119" y="2669921"/>
            <a:ext cx="2345963" cy="1618615"/>
            <a:chOff x="4335298" y="1033145"/>
            <a:chExt cx="2309528" cy="1538909"/>
          </a:xfrm>
        </p:grpSpPr>
        <p:pic>
          <p:nvPicPr>
            <p:cNvPr id="21" name="Picture 20"/>
            <p:cNvPicPr>
              <a:picLocks noChangeAspect="1"/>
            </p:cNvPicPr>
            <p:nvPr/>
          </p:nvPicPr>
          <p:blipFill>
            <a:blip r:embed="rId7"/>
            <a:stretch>
              <a:fillRect/>
            </a:stretch>
          </p:blipFill>
          <p:spPr>
            <a:xfrm>
              <a:off x="4335298" y="1039991"/>
              <a:ext cx="2309528" cy="1532063"/>
            </a:xfrm>
            <a:prstGeom prst="rect">
              <a:avLst/>
            </a:prstGeom>
          </p:spPr>
        </p:pic>
        <p:sp>
          <p:nvSpPr>
            <p:cNvPr id="22" name="TextBox 21"/>
            <p:cNvSpPr txBox="1"/>
            <p:nvPr/>
          </p:nvSpPr>
          <p:spPr>
            <a:xfrm>
              <a:off x="5560361" y="1033145"/>
              <a:ext cx="1051335" cy="292621"/>
            </a:xfrm>
            <a:prstGeom prst="rect">
              <a:avLst/>
            </a:prstGeom>
            <a:noFill/>
          </p:spPr>
          <p:txBody>
            <a:bodyPr wrap="none" rtlCol="0">
              <a:spAutoFit/>
            </a:bodyPr>
            <a:lstStyle/>
            <a:p>
              <a:r>
                <a:rPr lang="en-US" dirty="0" err="1">
                  <a:latin typeface="Futura Lt BT" panose="020B0402020204020303"/>
                </a:rPr>
                <a:t>amt</a:t>
              </a:r>
              <a:r>
                <a:rPr lang="en-US" dirty="0">
                  <a:latin typeface="Futura Lt BT" panose="020B0402020204020303"/>
                </a:rPr>
                <a:t> income</a:t>
              </a:r>
              <a:endParaRPr lang="en-SG" dirty="0">
                <a:latin typeface="Futura Lt BT" panose="020B0402020204020303"/>
              </a:endParaRPr>
            </a:p>
          </p:txBody>
        </p:sp>
      </p:grpSp>
      <p:sp>
        <p:nvSpPr>
          <p:cNvPr id="24" name="Rectangle 23"/>
          <p:cNvSpPr/>
          <p:nvPr/>
        </p:nvSpPr>
        <p:spPr>
          <a:xfrm>
            <a:off x="3118104" y="4737278"/>
            <a:ext cx="5481879" cy="1538731"/>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285750" indent="-285750">
              <a:buFont typeface="Wingdings" panose="05000000000000000000" pitchFamily="2" charset="2"/>
              <a:buChar char="ü"/>
            </a:pPr>
            <a:r>
              <a:rPr lang="en-US" dirty="0">
                <a:solidFill>
                  <a:schemeClr val="tx1"/>
                </a:solidFill>
                <a:latin typeface="Futura Lt BT" panose="020B0402020204020303"/>
              </a:rPr>
              <a:t>Box-plots are for finding outliers in continuous variables.</a:t>
            </a:r>
          </a:p>
          <a:p>
            <a:pPr marL="285750" indent="-285750">
              <a:buFont typeface="Wingdings" panose="05000000000000000000" pitchFamily="2" charset="2"/>
              <a:buChar char="ü"/>
            </a:pPr>
            <a:r>
              <a:rPr lang="en-US" dirty="0">
                <a:solidFill>
                  <a:schemeClr val="tx1"/>
                </a:solidFill>
                <a:latin typeface="Futura Lt BT" panose="020B0402020204020303"/>
              </a:rPr>
              <a:t>Histograms are to graphical summarize, the distribution of continuous variables. </a:t>
            </a:r>
          </a:p>
          <a:p>
            <a:pPr marL="285750" indent="-285750">
              <a:buFont typeface="Wingdings" panose="05000000000000000000" pitchFamily="2" charset="2"/>
              <a:buChar char="ü"/>
            </a:pPr>
            <a:r>
              <a:rPr lang="en-US" dirty="0">
                <a:solidFill>
                  <a:schemeClr val="tx1"/>
                </a:solidFill>
                <a:latin typeface="Futura Lt BT" panose="020B0402020204020303"/>
              </a:rPr>
              <a:t>Team had perform the univariate, bivariate &amp; multivariate analysis across different variables. The graphics are available in code file.</a:t>
            </a:r>
          </a:p>
        </p:txBody>
      </p:sp>
      <p:sp>
        <p:nvSpPr>
          <p:cNvPr id="25" name="TextBox 24"/>
          <p:cNvSpPr txBox="1"/>
          <p:nvPr/>
        </p:nvSpPr>
        <p:spPr>
          <a:xfrm>
            <a:off x="1362553" y="4804832"/>
            <a:ext cx="1532792" cy="307777"/>
          </a:xfrm>
          <a:prstGeom prst="rect">
            <a:avLst/>
          </a:prstGeom>
          <a:noFill/>
        </p:spPr>
        <p:txBody>
          <a:bodyPr wrap="none" rtlCol="0">
            <a:spAutoFit/>
          </a:bodyPr>
          <a:lstStyle/>
          <a:p>
            <a:r>
              <a:rPr lang="en-US" dirty="0">
                <a:latin typeface="Futura Lt BT" panose="020B0402020204020303"/>
              </a:rPr>
              <a:t>employment years</a:t>
            </a:r>
            <a:endParaRPr lang="en-SG" dirty="0">
              <a:latin typeface="Futura Lt BT" panose="020B0402020204020303"/>
            </a:endParaRPr>
          </a:p>
        </p:txBody>
      </p:sp>
      <p:sp>
        <p:nvSpPr>
          <p:cNvPr id="26" name="TextBox 25"/>
          <p:cNvSpPr txBox="1"/>
          <p:nvPr/>
        </p:nvSpPr>
        <p:spPr>
          <a:xfrm>
            <a:off x="4954188" y="2870790"/>
            <a:ext cx="470000" cy="307777"/>
          </a:xfrm>
          <a:prstGeom prst="rect">
            <a:avLst/>
          </a:prstGeom>
          <a:noFill/>
        </p:spPr>
        <p:txBody>
          <a:bodyPr wrap="none" rtlCol="0">
            <a:spAutoFit/>
          </a:bodyPr>
          <a:lstStyle/>
          <a:p>
            <a:r>
              <a:rPr lang="en-US" dirty="0">
                <a:latin typeface="Futura Lt BT" panose="020B0402020204020303"/>
              </a:rPr>
              <a:t>age</a:t>
            </a:r>
            <a:endParaRPr lang="en-SG" dirty="0">
              <a:latin typeface="Futura Lt BT" panose="020B0402020204020303"/>
            </a:endParaRPr>
          </a:p>
        </p:txBody>
      </p:sp>
      <p:sp>
        <p:nvSpPr>
          <p:cNvPr id="27" name="TextBox 26"/>
          <p:cNvSpPr txBox="1"/>
          <p:nvPr/>
        </p:nvSpPr>
        <p:spPr>
          <a:xfrm>
            <a:off x="4377324" y="956945"/>
            <a:ext cx="1067921" cy="307777"/>
          </a:xfrm>
          <a:prstGeom prst="rect">
            <a:avLst/>
          </a:prstGeom>
          <a:noFill/>
        </p:spPr>
        <p:txBody>
          <a:bodyPr wrap="none" rtlCol="0">
            <a:spAutoFit/>
          </a:bodyPr>
          <a:lstStyle/>
          <a:p>
            <a:r>
              <a:rPr lang="en-US" dirty="0" err="1">
                <a:latin typeface="Futura Lt BT" panose="020B0402020204020303"/>
              </a:rPr>
              <a:t>amt</a:t>
            </a:r>
            <a:r>
              <a:rPr lang="en-US" dirty="0">
                <a:latin typeface="Futura Lt BT" panose="020B0402020204020303"/>
              </a:rPr>
              <a:t> income</a:t>
            </a:r>
            <a:endParaRPr lang="en-SG" dirty="0">
              <a:latin typeface="Futura Lt BT" panose="020B0402020204020303"/>
            </a:endParaRPr>
          </a:p>
        </p:txBody>
      </p:sp>
      <p:sp>
        <p:nvSpPr>
          <p:cNvPr id="28" name="TextBox 27"/>
          <p:cNvSpPr txBox="1"/>
          <p:nvPr/>
        </p:nvSpPr>
        <p:spPr>
          <a:xfrm>
            <a:off x="1847469" y="950595"/>
            <a:ext cx="1050288" cy="307777"/>
          </a:xfrm>
          <a:prstGeom prst="rect">
            <a:avLst/>
          </a:prstGeom>
          <a:noFill/>
        </p:spPr>
        <p:txBody>
          <a:bodyPr wrap="none" rtlCol="0">
            <a:spAutoFit/>
          </a:bodyPr>
          <a:lstStyle/>
          <a:p>
            <a:r>
              <a:rPr lang="en-US" dirty="0" err="1">
                <a:latin typeface="Futura Lt BT" panose="020B0402020204020303"/>
              </a:rPr>
              <a:t>cnt</a:t>
            </a:r>
            <a:r>
              <a:rPr lang="en-US" dirty="0">
                <a:latin typeface="Futura Lt BT" panose="020B0402020204020303"/>
              </a:rPr>
              <a:t> children</a:t>
            </a:r>
            <a:endParaRPr lang="en-SG" dirty="0">
              <a:latin typeface="Futura Lt BT" panose="020B0402020204020303"/>
            </a:endParaRPr>
          </a:p>
        </p:txBody>
      </p:sp>
      <p:sp>
        <p:nvSpPr>
          <p:cNvPr id="29" name="TextBox 28"/>
          <p:cNvSpPr txBox="1"/>
          <p:nvPr/>
        </p:nvSpPr>
        <p:spPr>
          <a:xfrm>
            <a:off x="1714656" y="2895723"/>
            <a:ext cx="1205779" cy="307777"/>
          </a:xfrm>
          <a:prstGeom prst="rect">
            <a:avLst/>
          </a:prstGeom>
          <a:noFill/>
        </p:spPr>
        <p:txBody>
          <a:bodyPr wrap="none" rtlCol="0">
            <a:spAutoFit/>
          </a:bodyPr>
          <a:lstStyle/>
          <a:p>
            <a:r>
              <a:rPr lang="en-US" dirty="0">
                <a:latin typeface="Futura Lt BT" panose="020B0402020204020303"/>
              </a:rPr>
              <a:t>fam members</a:t>
            </a:r>
            <a:endParaRPr lang="en-SG" dirty="0">
              <a:latin typeface="Futura Lt BT" panose="020B0402020204020303"/>
            </a:endParaRPr>
          </a:p>
        </p:txBody>
      </p:sp>
    </p:spTree>
    <p:extLst>
      <p:ext uri="{BB962C8B-B14F-4D97-AF65-F5344CB8AC3E}">
        <p14:creationId xmlns:p14="http://schemas.microsoft.com/office/powerpoint/2010/main" val="1525481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lGTRN7iuEmZksxO_0LV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rOC1UyQF0Wxx_vGYCZX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NqxkqAr8kSMsZSTlbXA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OUz_nqxakGowMJXDYM0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iBkKpRGQUqCQtpuuTy62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19vMZlKDkGC1Ch_3.E5.g"/>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86</TotalTime>
  <Words>2064</Words>
  <Application>Microsoft Office PowerPoint</Application>
  <PresentationFormat>Widescreen</PresentationFormat>
  <Paragraphs>300</Paragraphs>
  <Slides>24</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Futura Lt BT</vt:lpstr>
      <vt:lpstr>Calibri</vt:lpstr>
      <vt:lpstr>Berlin Sans FB</vt:lpstr>
      <vt:lpstr>Arial</vt:lpstr>
      <vt:lpstr>Algerian</vt:lpstr>
      <vt:lpstr>Arial Narrow</vt:lpstr>
      <vt:lpstr>Wingdings</vt:lpstr>
      <vt:lpstr>Office Theme</vt:lpstr>
      <vt:lpstr>Packager Shell Object</vt:lpstr>
      <vt:lpstr>PowerPoint Presentation</vt:lpstr>
      <vt:lpstr>PowerPoint Presentation</vt:lpstr>
      <vt:lpstr>Agenda</vt:lpstr>
      <vt:lpstr> Business Problem</vt:lpstr>
      <vt:lpstr>PowerPoint Presentation</vt:lpstr>
      <vt:lpstr>Model Journ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chine Learning Model Deployment with Streamlit Web-App</vt:lpstr>
      <vt:lpstr>PowerPoint Presentation</vt:lpstr>
      <vt:lpstr>PowerPoint Presentation</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bha N</dc:creator>
  <cp:lastModifiedBy>Maneet Saluja</cp:lastModifiedBy>
  <cp:revision>208</cp:revision>
  <dcterms:created xsi:type="dcterms:W3CDTF">2021-05-27T09:28:27Z</dcterms:created>
  <dcterms:modified xsi:type="dcterms:W3CDTF">2022-09-30T13:55:04Z</dcterms:modified>
</cp:coreProperties>
</file>